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45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notesSlides/notesSlide5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tags/tag54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6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0.xml" ContentType="application/vnd.openxmlformats-officedocument.presentationml.notesSlide+xml"/>
  <Override PartName="/ppt/tags/tag59.xml" ContentType="application/vnd.openxmlformats-officedocument.presentationml.tags+xml"/>
  <Override PartName="/ppt/notesSlides/notesSlide11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0" r:id="rId1"/>
    <p:sldMasterId id="2147483690" r:id="rId2"/>
    <p:sldMasterId id="2147483678" r:id="rId3"/>
    <p:sldMasterId id="2147483755" r:id="rId4"/>
    <p:sldMasterId id="2147483767" r:id="rId5"/>
    <p:sldMasterId id="2147483779" r:id="rId6"/>
  </p:sldMasterIdLst>
  <p:notesMasterIdLst>
    <p:notesMasterId r:id="rId24"/>
  </p:notesMasterIdLst>
  <p:handoutMasterIdLst>
    <p:handoutMasterId r:id="rId25"/>
  </p:handoutMasterIdLst>
  <p:sldIdLst>
    <p:sldId id="256" r:id="rId7"/>
    <p:sldId id="432" r:id="rId8"/>
    <p:sldId id="265" r:id="rId9"/>
    <p:sldId id="433" r:id="rId10"/>
    <p:sldId id="323" r:id="rId11"/>
    <p:sldId id="281" r:id="rId12"/>
    <p:sldId id="450" r:id="rId13"/>
    <p:sldId id="280" r:id="rId14"/>
    <p:sldId id="267" r:id="rId15"/>
    <p:sldId id="278" r:id="rId16"/>
    <p:sldId id="279" r:id="rId17"/>
    <p:sldId id="446" r:id="rId18"/>
    <p:sldId id="445" r:id="rId19"/>
    <p:sldId id="447" r:id="rId20"/>
    <p:sldId id="449" r:id="rId21"/>
    <p:sldId id="451" r:id="rId22"/>
    <p:sldId id="448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181E"/>
    <a:srgbClr val="AB2228"/>
    <a:srgbClr val="DFE0E2"/>
    <a:srgbClr val="0D365D"/>
    <a:srgbClr val="AB2327"/>
    <a:srgbClr val="EE5CD2"/>
    <a:srgbClr val="EE7316"/>
    <a:srgbClr val="D9DCD8"/>
    <a:srgbClr val="D9DC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E57DB1-3C92-4AC0-AE69-CA8C3DF578F6}" v="206" dt="2020-12-05T13:42:43.304"/>
    <p1510:client id="{851D5ECE-E569-41D1-A6FB-7F68B0B9606D}" v="930" dt="2020-12-05T13:25:16.3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712" autoAdjust="0"/>
    <p:restoredTop sz="94223" autoAdjust="0"/>
  </p:normalViewPr>
  <p:slideViewPr>
    <p:cSldViewPr snapToGrid="0">
      <p:cViewPr varScale="1">
        <p:scale>
          <a:sx n="102" d="100"/>
          <a:sy n="102" d="100"/>
        </p:scale>
        <p:origin x="150" y="3186"/>
      </p:cViewPr>
      <p:guideLst>
        <p:guide orient="horz" pos="2160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3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901FF8-BBAF-4AFA-B2A8-32B38AFCBAF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91D07A-D824-4519-B860-1993164DF9FD}">
      <dgm:prSet phldrT="[Text]"/>
      <dgm:spPr/>
      <dgm:t>
        <a:bodyPr/>
        <a:lstStyle/>
        <a:p>
          <a:r>
            <a:rPr lang="en-US"/>
            <a:t>Data Types Supported</a:t>
          </a:r>
        </a:p>
      </dgm:t>
    </dgm:pt>
    <dgm:pt modelId="{C9F516F4-2446-4927-AF2B-12B625353D62}" type="parTrans" cxnId="{0057E69E-9140-45C3-AB0C-064E71A5934C}">
      <dgm:prSet/>
      <dgm:spPr/>
      <dgm:t>
        <a:bodyPr/>
        <a:lstStyle/>
        <a:p>
          <a:endParaRPr lang="en-US"/>
        </a:p>
      </dgm:t>
    </dgm:pt>
    <dgm:pt modelId="{DAFCEB3B-F022-4C90-B99C-222CAF5FD197}" type="sibTrans" cxnId="{0057E69E-9140-45C3-AB0C-064E71A5934C}">
      <dgm:prSet/>
      <dgm:spPr/>
      <dgm:t>
        <a:bodyPr/>
        <a:lstStyle/>
        <a:p>
          <a:endParaRPr lang="en-US"/>
        </a:p>
      </dgm:t>
    </dgm:pt>
    <dgm:pt modelId="{70561FBF-3944-43E0-A0B0-9A9BA87045F7}">
      <dgm:prSet phldrT="[Text]"/>
      <dgm:spPr/>
      <dgm:t>
        <a:bodyPr/>
        <a:lstStyle/>
        <a:p>
          <a:r>
            <a:rPr lang="en-US"/>
            <a:t>Boolean</a:t>
          </a:r>
        </a:p>
      </dgm:t>
    </dgm:pt>
    <dgm:pt modelId="{21C3F7E5-13D0-49E4-A271-DB287BF43E37}" type="parTrans" cxnId="{988F6A7E-58B5-46C1-9BB5-C01DA9F22F37}">
      <dgm:prSet/>
      <dgm:spPr/>
      <dgm:t>
        <a:bodyPr/>
        <a:lstStyle/>
        <a:p>
          <a:endParaRPr lang="en-US"/>
        </a:p>
      </dgm:t>
    </dgm:pt>
    <dgm:pt modelId="{5378406E-F6DB-4AB7-AB8E-D1C73A07C5D4}" type="sibTrans" cxnId="{988F6A7E-58B5-46C1-9BB5-C01DA9F22F37}">
      <dgm:prSet/>
      <dgm:spPr/>
      <dgm:t>
        <a:bodyPr/>
        <a:lstStyle/>
        <a:p>
          <a:endParaRPr lang="en-US"/>
        </a:p>
      </dgm:t>
    </dgm:pt>
    <dgm:pt modelId="{1170F71F-A361-4BB3-B82F-7CA44FB94FCA}">
      <dgm:prSet phldrT="[Text]"/>
      <dgm:spPr/>
      <dgm:t>
        <a:bodyPr/>
        <a:lstStyle/>
        <a:p>
          <a:r>
            <a:rPr lang="en-US"/>
            <a:t>Integer</a:t>
          </a:r>
        </a:p>
      </dgm:t>
    </dgm:pt>
    <dgm:pt modelId="{7C8A726E-177C-4D74-8615-DB7E0C028D7D}" type="parTrans" cxnId="{DA9F9C03-D721-4923-90A1-6542F8EFE3CD}">
      <dgm:prSet/>
      <dgm:spPr/>
      <dgm:t>
        <a:bodyPr/>
        <a:lstStyle/>
        <a:p>
          <a:endParaRPr lang="en-US"/>
        </a:p>
      </dgm:t>
    </dgm:pt>
    <dgm:pt modelId="{9D7531FA-DE5C-4F53-83FF-647CC27E4B8F}" type="sibTrans" cxnId="{DA9F9C03-D721-4923-90A1-6542F8EFE3CD}">
      <dgm:prSet/>
      <dgm:spPr/>
      <dgm:t>
        <a:bodyPr/>
        <a:lstStyle/>
        <a:p>
          <a:endParaRPr lang="en-US"/>
        </a:p>
      </dgm:t>
    </dgm:pt>
    <dgm:pt modelId="{CCE02ACB-B8FF-443D-98CC-901DBB19C3DE}">
      <dgm:prSet phldrT="[Text]"/>
      <dgm:spPr/>
      <dgm:t>
        <a:bodyPr/>
        <a:lstStyle/>
        <a:p>
          <a:r>
            <a:rPr lang="en-US"/>
            <a:t>Long</a:t>
          </a:r>
        </a:p>
      </dgm:t>
    </dgm:pt>
    <dgm:pt modelId="{A2FADE22-5189-4383-931F-216E4BD3FDCB}" type="parTrans" cxnId="{F1B458DD-4A9C-4186-BD3E-D987D3972F0B}">
      <dgm:prSet/>
      <dgm:spPr/>
      <dgm:t>
        <a:bodyPr/>
        <a:lstStyle/>
        <a:p>
          <a:endParaRPr lang="en-US"/>
        </a:p>
      </dgm:t>
    </dgm:pt>
    <dgm:pt modelId="{96B2FF3D-2F1B-42ED-923D-6DADAD1E00F7}" type="sibTrans" cxnId="{F1B458DD-4A9C-4186-BD3E-D987D3972F0B}">
      <dgm:prSet/>
      <dgm:spPr/>
      <dgm:t>
        <a:bodyPr/>
        <a:lstStyle/>
        <a:p>
          <a:endParaRPr lang="en-US"/>
        </a:p>
      </dgm:t>
    </dgm:pt>
    <dgm:pt modelId="{1295AEC3-460A-4F55-B05C-D74E03BD4D4A}">
      <dgm:prSet phldrT="[Text]"/>
      <dgm:spPr/>
      <dgm:t>
        <a:bodyPr/>
        <a:lstStyle/>
        <a:p>
          <a:r>
            <a:rPr lang="en-US"/>
            <a:t>Float</a:t>
          </a:r>
        </a:p>
      </dgm:t>
    </dgm:pt>
    <dgm:pt modelId="{4879C8C3-D7A0-4721-9D4A-395F05F70656}" type="parTrans" cxnId="{52A99C22-95A8-4DDC-B86D-95E594F470D9}">
      <dgm:prSet/>
      <dgm:spPr/>
      <dgm:t>
        <a:bodyPr/>
        <a:lstStyle/>
        <a:p>
          <a:endParaRPr lang="en-US"/>
        </a:p>
      </dgm:t>
    </dgm:pt>
    <dgm:pt modelId="{1CA3FFDF-AB28-4508-8619-F8F11F73BF84}" type="sibTrans" cxnId="{52A99C22-95A8-4DDC-B86D-95E594F470D9}">
      <dgm:prSet/>
      <dgm:spPr/>
      <dgm:t>
        <a:bodyPr/>
        <a:lstStyle/>
        <a:p>
          <a:endParaRPr lang="en-US"/>
        </a:p>
      </dgm:t>
    </dgm:pt>
    <dgm:pt modelId="{2EF32E95-78E1-4455-A301-B7A884A9CA01}" type="pres">
      <dgm:prSet presAssocID="{BE901FF8-BBAF-4AFA-B2A8-32B38AFCBAFE}" presName="vert0" presStyleCnt="0">
        <dgm:presLayoutVars>
          <dgm:dir/>
          <dgm:animOne val="branch"/>
          <dgm:animLvl val="lvl"/>
        </dgm:presLayoutVars>
      </dgm:prSet>
      <dgm:spPr/>
    </dgm:pt>
    <dgm:pt modelId="{C4C13ED3-D3A0-4315-9D5D-85BABA27B016}" type="pres">
      <dgm:prSet presAssocID="{3591D07A-D824-4519-B860-1993164DF9FD}" presName="thickLine" presStyleLbl="alignNode1" presStyleIdx="0" presStyleCnt="1"/>
      <dgm:spPr/>
    </dgm:pt>
    <dgm:pt modelId="{3E331361-FBB8-4064-BD56-1C16DE00E9D4}" type="pres">
      <dgm:prSet presAssocID="{3591D07A-D824-4519-B860-1993164DF9FD}" presName="horz1" presStyleCnt="0"/>
      <dgm:spPr/>
    </dgm:pt>
    <dgm:pt modelId="{1EA71D56-85DF-4D54-9B21-A3D3F455259B}" type="pres">
      <dgm:prSet presAssocID="{3591D07A-D824-4519-B860-1993164DF9FD}" presName="tx1" presStyleLbl="revTx" presStyleIdx="0" presStyleCnt="5"/>
      <dgm:spPr/>
    </dgm:pt>
    <dgm:pt modelId="{81581667-0701-47F0-847E-EE4DD183EAB0}" type="pres">
      <dgm:prSet presAssocID="{3591D07A-D824-4519-B860-1993164DF9FD}" presName="vert1" presStyleCnt="0"/>
      <dgm:spPr/>
    </dgm:pt>
    <dgm:pt modelId="{F903D8B1-69F0-428F-84EB-6B5A816B651A}" type="pres">
      <dgm:prSet presAssocID="{70561FBF-3944-43E0-A0B0-9A9BA87045F7}" presName="vertSpace2a" presStyleCnt="0"/>
      <dgm:spPr/>
    </dgm:pt>
    <dgm:pt modelId="{CB207C62-72D1-451E-8386-D8D564CA17AE}" type="pres">
      <dgm:prSet presAssocID="{70561FBF-3944-43E0-A0B0-9A9BA87045F7}" presName="horz2" presStyleCnt="0"/>
      <dgm:spPr/>
    </dgm:pt>
    <dgm:pt modelId="{BF3829F1-CF72-409F-A77E-0040B4F43822}" type="pres">
      <dgm:prSet presAssocID="{70561FBF-3944-43E0-A0B0-9A9BA87045F7}" presName="horzSpace2" presStyleCnt="0"/>
      <dgm:spPr/>
    </dgm:pt>
    <dgm:pt modelId="{F74AB7C3-C0CE-42A8-ADCD-E354E108D765}" type="pres">
      <dgm:prSet presAssocID="{70561FBF-3944-43E0-A0B0-9A9BA87045F7}" presName="tx2" presStyleLbl="revTx" presStyleIdx="1" presStyleCnt="5"/>
      <dgm:spPr>
        <a:prstGeom prst="borderCallout2">
          <a:avLst/>
        </a:prstGeom>
      </dgm:spPr>
    </dgm:pt>
    <dgm:pt modelId="{673ECEB4-DF66-471E-B8AB-AD62507899D6}" type="pres">
      <dgm:prSet presAssocID="{70561FBF-3944-43E0-A0B0-9A9BA87045F7}" presName="vert2" presStyleCnt="0"/>
      <dgm:spPr/>
    </dgm:pt>
    <dgm:pt modelId="{169FBE19-E715-439E-AEA0-F69EAD6D0374}" type="pres">
      <dgm:prSet presAssocID="{70561FBF-3944-43E0-A0B0-9A9BA87045F7}" presName="thinLine2b" presStyleLbl="callout" presStyleIdx="0" presStyleCnt="4"/>
      <dgm:spPr/>
    </dgm:pt>
    <dgm:pt modelId="{2D8BFC06-7D80-4FC8-B7B1-BF8FFF53707E}" type="pres">
      <dgm:prSet presAssocID="{70561FBF-3944-43E0-A0B0-9A9BA87045F7}" presName="vertSpace2b" presStyleCnt="0"/>
      <dgm:spPr/>
    </dgm:pt>
    <dgm:pt modelId="{A96CE797-A639-4F1E-928C-481D53B7AE3F}" type="pres">
      <dgm:prSet presAssocID="{1170F71F-A361-4BB3-B82F-7CA44FB94FCA}" presName="horz2" presStyleCnt="0"/>
      <dgm:spPr/>
    </dgm:pt>
    <dgm:pt modelId="{E9323B10-6D09-4269-A201-655FFA573980}" type="pres">
      <dgm:prSet presAssocID="{1170F71F-A361-4BB3-B82F-7CA44FB94FCA}" presName="horzSpace2" presStyleCnt="0"/>
      <dgm:spPr/>
    </dgm:pt>
    <dgm:pt modelId="{4A98FA18-6FD4-4F43-8879-7E667836F0B2}" type="pres">
      <dgm:prSet presAssocID="{1170F71F-A361-4BB3-B82F-7CA44FB94FCA}" presName="tx2" presStyleLbl="revTx" presStyleIdx="2" presStyleCnt="5"/>
      <dgm:spPr/>
    </dgm:pt>
    <dgm:pt modelId="{06BFCF40-0714-4EF7-93B7-0079E195E258}" type="pres">
      <dgm:prSet presAssocID="{1170F71F-A361-4BB3-B82F-7CA44FB94FCA}" presName="vert2" presStyleCnt="0"/>
      <dgm:spPr/>
    </dgm:pt>
    <dgm:pt modelId="{18BC2190-48FF-48B9-9C3F-5331CFE4C0E1}" type="pres">
      <dgm:prSet presAssocID="{1170F71F-A361-4BB3-B82F-7CA44FB94FCA}" presName="thinLine2b" presStyleLbl="callout" presStyleIdx="1" presStyleCnt="4"/>
      <dgm:spPr/>
    </dgm:pt>
    <dgm:pt modelId="{8FD45DEC-721B-4C9B-A5DC-6DA847227029}" type="pres">
      <dgm:prSet presAssocID="{1170F71F-A361-4BB3-B82F-7CA44FB94FCA}" presName="vertSpace2b" presStyleCnt="0"/>
      <dgm:spPr/>
    </dgm:pt>
    <dgm:pt modelId="{E5D55C69-18FF-4006-85FC-E96CA286270D}" type="pres">
      <dgm:prSet presAssocID="{1295AEC3-460A-4F55-B05C-D74E03BD4D4A}" presName="horz2" presStyleCnt="0"/>
      <dgm:spPr/>
    </dgm:pt>
    <dgm:pt modelId="{C71DDA7A-95DE-43D3-AFDD-51142F31C09F}" type="pres">
      <dgm:prSet presAssocID="{1295AEC3-460A-4F55-B05C-D74E03BD4D4A}" presName="horzSpace2" presStyleCnt="0"/>
      <dgm:spPr/>
    </dgm:pt>
    <dgm:pt modelId="{78ED0FCB-A21F-4819-891A-27814A2F2B73}" type="pres">
      <dgm:prSet presAssocID="{1295AEC3-460A-4F55-B05C-D74E03BD4D4A}" presName="tx2" presStyleLbl="revTx" presStyleIdx="3" presStyleCnt="5"/>
      <dgm:spPr/>
    </dgm:pt>
    <dgm:pt modelId="{6F5BC1ED-1BF1-4BCA-9A50-E3901C9BEACE}" type="pres">
      <dgm:prSet presAssocID="{1295AEC3-460A-4F55-B05C-D74E03BD4D4A}" presName="vert2" presStyleCnt="0"/>
      <dgm:spPr/>
    </dgm:pt>
    <dgm:pt modelId="{F0EBC1F2-5A41-4D12-9455-7A5C54330513}" type="pres">
      <dgm:prSet presAssocID="{1295AEC3-460A-4F55-B05C-D74E03BD4D4A}" presName="thinLine2b" presStyleLbl="callout" presStyleIdx="2" presStyleCnt="4"/>
      <dgm:spPr/>
    </dgm:pt>
    <dgm:pt modelId="{94DC5FAF-BD5F-4940-BBC0-71C9B9E22E23}" type="pres">
      <dgm:prSet presAssocID="{1295AEC3-460A-4F55-B05C-D74E03BD4D4A}" presName="vertSpace2b" presStyleCnt="0"/>
      <dgm:spPr/>
    </dgm:pt>
    <dgm:pt modelId="{EFD56F45-4774-4B05-9611-1DAE7317A1F2}" type="pres">
      <dgm:prSet presAssocID="{CCE02ACB-B8FF-443D-98CC-901DBB19C3DE}" presName="horz2" presStyleCnt="0"/>
      <dgm:spPr/>
    </dgm:pt>
    <dgm:pt modelId="{E5F60BF8-37CC-4C6C-8744-68781A5AF260}" type="pres">
      <dgm:prSet presAssocID="{CCE02ACB-B8FF-443D-98CC-901DBB19C3DE}" presName="horzSpace2" presStyleCnt="0"/>
      <dgm:spPr/>
    </dgm:pt>
    <dgm:pt modelId="{AAD6F35A-ED80-46BA-A77B-3FB906F59183}" type="pres">
      <dgm:prSet presAssocID="{CCE02ACB-B8FF-443D-98CC-901DBB19C3DE}" presName="tx2" presStyleLbl="revTx" presStyleIdx="4" presStyleCnt="5"/>
      <dgm:spPr/>
    </dgm:pt>
    <dgm:pt modelId="{EFBB13B6-B3FF-4F11-8233-4032D576033A}" type="pres">
      <dgm:prSet presAssocID="{CCE02ACB-B8FF-443D-98CC-901DBB19C3DE}" presName="vert2" presStyleCnt="0"/>
      <dgm:spPr/>
    </dgm:pt>
    <dgm:pt modelId="{449DB954-DAAE-429F-84F9-21EB5265CA96}" type="pres">
      <dgm:prSet presAssocID="{CCE02ACB-B8FF-443D-98CC-901DBB19C3DE}" presName="thinLine2b" presStyleLbl="callout" presStyleIdx="3" presStyleCnt="4"/>
      <dgm:spPr/>
    </dgm:pt>
    <dgm:pt modelId="{9E53F462-51BC-4BD8-B0E4-22D8C9B74FC8}" type="pres">
      <dgm:prSet presAssocID="{CCE02ACB-B8FF-443D-98CC-901DBB19C3DE}" presName="vertSpace2b" presStyleCnt="0"/>
      <dgm:spPr/>
    </dgm:pt>
  </dgm:ptLst>
  <dgm:cxnLst>
    <dgm:cxn modelId="{DA9F9C03-D721-4923-90A1-6542F8EFE3CD}" srcId="{3591D07A-D824-4519-B860-1993164DF9FD}" destId="{1170F71F-A361-4BB3-B82F-7CA44FB94FCA}" srcOrd="1" destOrd="0" parTransId="{7C8A726E-177C-4D74-8615-DB7E0C028D7D}" sibTransId="{9D7531FA-DE5C-4F53-83FF-647CC27E4B8F}"/>
    <dgm:cxn modelId="{86B05C08-0380-44DD-BC19-B566B3F71EAA}" type="presOf" srcId="{CCE02ACB-B8FF-443D-98CC-901DBB19C3DE}" destId="{AAD6F35A-ED80-46BA-A77B-3FB906F59183}" srcOrd="0" destOrd="0" presId="urn:microsoft.com/office/officeart/2008/layout/LinedList"/>
    <dgm:cxn modelId="{52A99C22-95A8-4DDC-B86D-95E594F470D9}" srcId="{3591D07A-D824-4519-B860-1993164DF9FD}" destId="{1295AEC3-460A-4F55-B05C-D74E03BD4D4A}" srcOrd="2" destOrd="0" parTransId="{4879C8C3-D7A0-4721-9D4A-395F05F70656}" sibTransId="{1CA3FFDF-AB28-4508-8619-F8F11F73BF84}"/>
    <dgm:cxn modelId="{4D21BA2D-4870-4013-9FE7-390DDD0D8DB3}" type="presOf" srcId="{BE901FF8-BBAF-4AFA-B2A8-32B38AFCBAFE}" destId="{2EF32E95-78E1-4455-A301-B7A884A9CA01}" srcOrd="0" destOrd="0" presId="urn:microsoft.com/office/officeart/2008/layout/LinedList"/>
    <dgm:cxn modelId="{EDED8156-213F-46B7-9F03-5EB82AB46D5B}" type="presOf" srcId="{70561FBF-3944-43E0-A0B0-9A9BA87045F7}" destId="{F74AB7C3-C0CE-42A8-ADCD-E354E108D765}" srcOrd="0" destOrd="0" presId="urn:microsoft.com/office/officeart/2008/layout/LinedList"/>
    <dgm:cxn modelId="{988F6A7E-58B5-46C1-9BB5-C01DA9F22F37}" srcId="{3591D07A-D824-4519-B860-1993164DF9FD}" destId="{70561FBF-3944-43E0-A0B0-9A9BA87045F7}" srcOrd="0" destOrd="0" parTransId="{21C3F7E5-13D0-49E4-A271-DB287BF43E37}" sibTransId="{5378406E-F6DB-4AB7-AB8E-D1C73A07C5D4}"/>
    <dgm:cxn modelId="{0057E69E-9140-45C3-AB0C-064E71A5934C}" srcId="{BE901FF8-BBAF-4AFA-B2A8-32B38AFCBAFE}" destId="{3591D07A-D824-4519-B860-1993164DF9FD}" srcOrd="0" destOrd="0" parTransId="{C9F516F4-2446-4927-AF2B-12B625353D62}" sibTransId="{DAFCEB3B-F022-4C90-B99C-222CAF5FD197}"/>
    <dgm:cxn modelId="{6DD5B5B7-91BE-4F0C-A0C8-5F78B93D1E6B}" type="presOf" srcId="{3591D07A-D824-4519-B860-1993164DF9FD}" destId="{1EA71D56-85DF-4D54-9B21-A3D3F455259B}" srcOrd="0" destOrd="0" presId="urn:microsoft.com/office/officeart/2008/layout/LinedList"/>
    <dgm:cxn modelId="{DADD8EBD-D38A-4E88-A5DD-5E9ECCD5C842}" type="presOf" srcId="{1295AEC3-460A-4F55-B05C-D74E03BD4D4A}" destId="{78ED0FCB-A21F-4819-891A-27814A2F2B73}" srcOrd="0" destOrd="0" presId="urn:microsoft.com/office/officeart/2008/layout/LinedList"/>
    <dgm:cxn modelId="{F1B458DD-4A9C-4186-BD3E-D987D3972F0B}" srcId="{3591D07A-D824-4519-B860-1993164DF9FD}" destId="{CCE02ACB-B8FF-443D-98CC-901DBB19C3DE}" srcOrd="3" destOrd="0" parTransId="{A2FADE22-5189-4383-931F-216E4BD3FDCB}" sibTransId="{96B2FF3D-2F1B-42ED-923D-6DADAD1E00F7}"/>
    <dgm:cxn modelId="{460469E7-D81E-408F-A7D0-ECAEFA28F21E}" type="presOf" srcId="{1170F71F-A361-4BB3-B82F-7CA44FB94FCA}" destId="{4A98FA18-6FD4-4F43-8879-7E667836F0B2}" srcOrd="0" destOrd="0" presId="urn:microsoft.com/office/officeart/2008/layout/LinedList"/>
    <dgm:cxn modelId="{FF0D3D27-29AF-4ACB-BAFC-F19CE06C9E78}" type="presParOf" srcId="{2EF32E95-78E1-4455-A301-B7A884A9CA01}" destId="{C4C13ED3-D3A0-4315-9D5D-85BABA27B016}" srcOrd="0" destOrd="0" presId="urn:microsoft.com/office/officeart/2008/layout/LinedList"/>
    <dgm:cxn modelId="{5F3EC65F-C9F9-44E2-8128-28B548EBC47E}" type="presParOf" srcId="{2EF32E95-78E1-4455-A301-B7A884A9CA01}" destId="{3E331361-FBB8-4064-BD56-1C16DE00E9D4}" srcOrd="1" destOrd="0" presId="urn:microsoft.com/office/officeart/2008/layout/LinedList"/>
    <dgm:cxn modelId="{F5D4D536-1041-4215-A4A1-268C493E4FDB}" type="presParOf" srcId="{3E331361-FBB8-4064-BD56-1C16DE00E9D4}" destId="{1EA71D56-85DF-4D54-9B21-A3D3F455259B}" srcOrd="0" destOrd="0" presId="urn:microsoft.com/office/officeart/2008/layout/LinedList"/>
    <dgm:cxn modelId="{F773ACFC-75DE-4D6C-8E5D-D9E85B6139A7}" type="presParOf" srcId="{3E331361-FBB8-4064-BD56-1C16DE00E9D4}" destId="{81581667-0701-47F0-847E-EE4DD183EAB0}" srcOrd="1" destOrd="0" presId="urn:microsoft.com/office/officeart/2008/layout/LinedList"/>
    <dgm:cxn modelId="{12336EBB-0B3D-48A4-961B-2F10A84FB2FF}" type="presParOf" srcId="{81581667-0701-47F0-847E-EE4DD183EAB0}" destId="{F903D8B1-69F0-428F-84EB-6B5A816B651A}" srcOrd="0" destOrd="0" presId="urn:microsoft.com/office/officeart/2008/layout/LinedList"/>
    <dgm:cxn modelId="{1A9604FE-A360-4D87-8388-2C851931A369}" type="presParOf" srcId="{81581667-0701-47F0-847E-EE4DD183EAB0}" destId="{CB207C62-72D1-451E-8386-D8D564CA17AE}" srcOrd="1" destOrd="0" presId="urn:microsoft.com/office/officeart/2008/layout/LinedList"/>
    <dgm:cxn modelId="{A1F9B0C2-059F-4FDF-A877-19FE849CA037}" type="presParOf" srcId="{CB207C62-72D1-451E-8386-D8D564CA17AE}" destId="{BF3829F1-CF72-409F-A77E-0040B4F43822}" srcOrd="0" destOrd="0" presId="urn:microsoft.com/office/officeart/2008/layout/LinedList"/>
    <dgm:cxn modelId="{4BC6DA0B-F722-4019-BD9C-654C0138B014}" type="presParOf" srcId="{CB207C62-72D1-451E-8386-D8D564CA17AE}" destId="{F74AB7C3-C0CE-42A8-ADCD-E354E108D765}" srcOrd="1" destOrd="0" presId="urn:microsoft.com/office/officeart/2008/layout/LinedList"/>
    <dgm:cxn modelId="{F70A7CF3-8D80-40A7-8601-45EC8E0D6250}" type="presParOf" srcId="{CB207C62-72D1-451E-8386-D8D564CA17AE}" destId="{673ECEB4-DF66-471E-B8AB-AD62507899D6}" srcOrd="2" destOrd="0" presId="urn:microsoft.com/office/officeart/2008/layout/LinedList"/>
    <dgm:cxn modelId="{CDEAFCBD-9303-43C8-B885-9A5453A12D79}" type="presParOf" srcId="{81581667-0701-47F0-847E-EE4DD183EAB0}" destId="{169FBE19-E715-439E-AEA0-F69EAD6D0374}" srcOrd="2" destOrd="0" presId="urn:microsoft.com/office/officeart/2008/layout/LinedList"/>
    <dgm:cxn modelId="{8C283436-8FFE-422A-B0FC-37B2BF44224C}" type="presParOf" srcId="{81581667-0701-47F0-847E-EE4DD183EAB0}" destId="{2D8BFC06-7D80-4FC8-B7B1-BF8FFF53707E}" srcOrd="3" destOrd="0" presId="urn:microsoft.com/office/officeart/2008/layout/LinedList"/>
    <dgm:cxn modelId="{7C270E43-F5C1-447E-B610-06F8A8693D27}" type="presParOf" srcId="{81581667-0701-47F0-847E-EE4DD183EAB0}" destId="{A96CE797-A639-4F1E-928C-481D53B7AE3F}" srcOrd="4" destOrd="0" presId="urn:microsoft.com/office/officeart/2008/layout/LinedList"/>
    <dgm:cxn modelId="{1D333D59-C7F7-4F75-8E34-1423937373C3}" type="presParOf" srcId="{A96CE797-A639-4F1E-928C-481D53B7AE3F}" destId="{E9323B10-6D09-4269-A201-655FFA573980}" srcOrd="0" destOrd="0" presId="urn:microsoft.com/office/officeart/2008/layout/LinedList"/>
    <dgm:cxn modelId="{631535D6-C5DF-4369-A4D1-6D83F5BDE8F3}" type="presParOf" srcId="{A96CE797-A639-4F1E-928C-481D53B7AE3F}" destId="{4A98FA18-6FD4-4F43-8879-7E667836F0B2}" srcOrd="1" destOrd="0" presId="urn:microsoft.com/office/officeart/2008/layout/LinedList"/>
    <dgm:cxn modelId="{63D5C00B-656B-4677-AD34-1FA7398EE03E}" type="presParOf" srcId="{A96CE797-A639-4F1E-928C-481D53B7AE3F}" destId="{06BFCF40-0714-4EF7-93B7-0079E195E258}" srcOrd="2" destOrd="0" presId="urn:microsoft.com/office/officeart/2008/layout/LinedList"/>
    <dgm:cxn modelId="{73E7E7C5-20DD-4162-B5CE-704DAA1675CC}" type="presParOf" srcId="{81581667-0701-47F0-847E-EE4DD183EAB0}" destId="{18BC2190-48FF-48B9-9C3F-5331CFE4C0E1}" srcOrd="5" destOrd="0" presId="urn:microsoft.com/office/officeart/2008/layout/LinedList"/>
    <dgm:cxn modelId="{3DC438FF-04AC-4ED1-87F2-2E1AB720BFBC}" type="presParOf" srcId="{81581667-0701-47F0-847E-EE4DD183EAB0}" destId="{8FD45DEC-721B-4C9B-A5DC-6DA847227029}" srcOrd="6" destOrd="0" presId="urn:microsoft.com/office/officeart/2008/layout/LinedList"/>
    <dgm:cxn modelId="{F3BF4148-7188-4FD7-A993-587A88960ED8}" type="presParOf" srcId="{81581667-0701-47F0-847E-EE4DD183EAB0}" destId="{E5D55C69-18FF-4006-85FC-E96CA286270D}" srcOrd="7" destOrd="0" presId="urn:microsoft.com/office/officeart/2008/layout/LinedList"/>
    <dgm:cxn modelId="{66F63014-8BD5-4C35-B6F5-EBAB2417C247}" type="presParOf" srcId="{E5D55C69-18FF-4006-85FC-E96CA286270D}" destId="{C71DDA7A-95DE-43D3-AFDD-51142F31C09F}" srcOrd="0" destOrd="0" presId="urn:microsoft.com/office/officeart/2008/layout/LinedList"/>
    <dgm:cxn modelId="{496FB8FF-92E7-4677-8DAB-14B80CD635B2}" type="presParOf" srcId="{E5D55C69-18FF-4006-85FC-E96CA286270D}" destId="{78ED0FCB-A21F-4819-891A-27814A2F2B73}" srcOrd="1" destOrd="0" presId="urn:microsoft.com/office/officeart/2008/layout/LinedList"/>
    <dgm:cxn modelId="{0B4E99E4-7915-452C-ACFE-A98D8058139D}" type="presParOf" srcId="{E5D55C69-18FF-4006-85FC-E96CA286270D}" destId="{6F5BC1ED-1BF1-4BCA-9A50-E3901C9BEACE}" srcOrd="2" destOrd="0" presId="urn:microsoft.com/office/officeart/2008/layout/LinedList"/>
    <dgm:cxn modelId="{90911821-A754-45B1-A3AC-8B3BD40CED25}" type="presParOf" srcId="{81581667-0701-47F0-847E-EE4DD183EAB0}" destId="{F0EBC1F2-5A41-4D12-9455-7A5C54330513}" srcOrd="8" destOrd="0" presId="urn:microsoft.com/office/officeart/2008/layout/LinedList"/>
    <dgm:cxn modelId="{A69A1E7B-902E-4FDD-9D7F-1F2B4140F2DC}" type="presParOf" srcId="{81581667-0701-47F0-847E-EE4DD183EAB0}" destId="{94DC5FAF-BD5F-4940-BBC0-71C9B9E22E23}" srcOrd="9" destOrd="0" presId="urn:microsoft.com/office/officeart/2008/layout/LinedList"/>
    <dgm:cxn modelId="{9BF64AA3-FE18-4626-9BCB-990DE1B4498C}" type="presParOf" srcId="{81581667-0701-47F0-847E-EE4DD183EAB0}" destId="{EFD56F45-4774-4B05-9611-1DAE7317A1F2}" srcOrd="10" destOrd="0" presId="urn:microsoft.com/office/officeart/2008/layout/LinedList"/>
    <dgm:cxn modelId="{FDD17685-1B37-4A12-85E5-59E59DABB9BC}" type="presParOf" srcId="{EFD56F45-4774-4B05-9611-1DAE7317A1F2}" destId="{E5F60BF8-37CC-4C6C-8744-68781A5AF260}" srcOrd="0" destOrd="0" presId="urn:microsoft.com/office/officeart/2008/layout/LinedList"/>
    <dgm:cxn modelId="{B4F3E83F-2C9C-4706-99D3-FFAA728F554A}" type="presParOf" srcId="{EFD56F45-4774-4B05-9611-1DAE7317A1F2}" destId="{AAD6F35A-ED80-46BA-A77B-3FB906F59183}" srcOrd="1" destOrd="0" presId="urn:microsoft.com/office/officeart/2008/layout/LinedList"/>
    <dgm:cxn modelId="{C8B2B91E-48DA-4B23-A7DB-3B0AB2D58CE4}" type="presParOf" srcId="{EFD56F45-4774-4B05-9611-1DAE7317A1F2}" destId="{EFBB13B6-B3FF-4F11-8233-4032D576033A}" srcOrd="2" destOrd="0" presId="urn:microsoft.com/office/officeart/2008/layout/LinedList"/>
    <dgm:cxn modelId="{C70C3259-7F31-4126-AB72-8DE3498D5BB2}" type="presParOf" srcId="{81581667-0701-47F0-847E-EE4DD183EAB0}" destId="{449DB954-DAAE-429F-84F9-21EB5265CA96}" srcOrd="11" destOrd="0" presId="urn:microsoft.com/office/officeart/2008/layout/LinedList"/>
    <dgm:cxn modelId="{E9DE2C58-C2E6-4A82-AB4E-E86C3A3300B9}" type="presParOf" srcId="{81581667-0701-47F0-847E-EE4DD183EAB0}" destId="{9E53F462-51BC-4BD8-B0E4-22D8C9B74FC8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F33173-4810-47E2-834C-D9773AAEE09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1C52F4-E2A6-43BB-8B85-940807987884}">
      <dgm:prSet phldrT="[Text]"/>
      <dgm:spPr/>
      <dgm:t>
        <a:bodyPr/>
        <a:lstStyle/>
        <a:p>
          <a:r>
            <a:rPr lang="en-US"/>
            <a:t>Data Types Supported</a:t>
          </a:r>
        </a:p>
      </dgm:t>
    </dgm:pt>
    <dgm:pt modelId="{E2F706DD-E8A6-4EEB-A8F5-71AEB3805D87}" type="parTrans" cxnId="{AD8CA806-3CEF-413D-ACAB-091CEC0ADDA4}">
      <dgm:prSet/>
      <dgm:spPr/>
      <dgm:t>
        <a:bodyPr/>
        <a:lstStyle/>
        <a:p>
          <a:endParaRPr lang="en-US"/>
        </a:p>
      </dgm:t>
    </dgm:pt>
    <dgm:pt modelId="{1F2626F3-5054-4EBE-9FA4-7E4BF871A7D5}" type="sibTrans" cxnId="{AD8CA806-3CEF-413D-ACAB-091CEC0ADDA4}">
      <dgm:prSet/>
      <dgm:spPr/>
      <dgm:t>
        <a:bodyPr/>
        <a:lstStyle/>
        <a:p>
          <a:endParaRPr lang="en-US"/>
        </a:p>
      </dgm:t>
    </dgm:pt>
    <dgm:pt modelId="{60B3CEAA-6526-4F9F-AFC8-371B6E34BDAB}">
      <dgm:prSet phldrT="[Text]"/>
      <dgm:spPr/>
      <dgm:t>
        <a:bodyPr/>
        <a:lstStyle/>
        <a:p>
          <a:r>
            <a:rPr lang="en-US"/>
            <a:t>Boolean</a:t>
          </a:r>
        </a:p>
      </dgm:t>
    </dgm:pt>
    <dgm:pt modelId="{C260140B-D5BE-43E6-8FE2-EE7B232E0374}" type="parTrans" cxnId="{2A240B32-B89D-480C-B361-A0C4E897B310}">
      <dgm:prSet/>
      <dgm:spPr/>
      <dgm:t>
        <a:bodyPr/>
        <a:lstStyle/>
        <a:p>
          <a:endParaRPr lang="en-US"/>
        </a:p>
      </dgm:t>
    </dgm:pt>
    <dgm:pt modelId="{8275358D-4CAD-4EE4-AB7B-280B0323EC9A}" type="sibTrans" cxnId="{2A240B32-B89D-480C-B361-A0C4E897B310}">
      <dgm:prSet/>
      <dgm:spPr/>
      <dgm:t>
        <a:bodyPr/>
        <a:lstStyle/>
        <a:p>
          <a:endParaRPr lang="en-US"/>
        </a:p>
      </dgm:t>
    </dgm:pt>
    <dgm:pt modelId="{78156408-1511-4D46-849D-8138B1CDCD05}">
      <dgm:prSet phldrT="[Text]"/>
      <dgm:spPr/>
      <dgm:t>
        <a:bodyPr/>
        <a:lstStyle/>
        <a:p>
          <a:r>
            <a:rPr lang="en-US"/>
            <a:t>REAL</a:t>
          </a:r>
        </a:p>
      </dgm:t>
    </dgm:pt>
    <dgm:pt modelId="{C942E23E-20AD-4EA3-A7DF-66BEFB142269}" type="parTrans" cxnId="{9D5C1148-DA1C-41BF-B2D1-A4CB184B80AF}">
      <dgm:prSet/>
      <dgm:spPr/>
      <dgm:t>
        <a:bodyPr/>
        <a:lstStyle/>
        <a:p>
          <a:endParaRPr lang="en-US"/>
        </a:p>
      </dgm:t>
    </dgm:pt>
    <dgm:pt modelId="{937321A8-7FEC-4FA4-9B29-E6EB7ABD308B}" type="sibTrans" cxnId="{9D5C1148-DA1C-41BF-B2D1-A4CB184B80AF}">
      <dgm:prSet/>
      <dgm:spPr/>
      <dgm:t>
        <a:bodyPr/>
        <a:lstStyle/>
        <a:p>
          <a:endParaRPr lang="en-US"/>
        </a:p>
      </dgm:t>
    </dgm:pt>
    <dgm:pt modelId="{11DC502B-0718-4D2F-A5E9-8EDAC1B76D35}">
      <dgm:prSet phldrT="[Text]"/>
      <dgm:spPr/>
      <dgm:t>
        <a:bodyPr/>
        <a:lstStyle/>
        <a:p>
          <a:r>
            <a:rPr lang="en-US"/>
            <a:t>LREAL</a:t>
          </a:r>
        </a:p>
      </dgm:t>
    </dgm:pt>
    <dgm:pt modelId="{5AEE2A2E-D6A6-4209-9150-DF0CE5966CEC}" type="parTrans" cxnId="{4390A4F6-D42F-4D71-8FC9-665C292C8555}">
      <dgm:prSet/>
      <dgm:spPr/>
      <dgm:t>
        <a:bodyPr/>
        <a:lstStyle/>
        <a:p>
          <a:endParaRPr lang="en-US"/>
        </a:p>
      </dgm:t>
    </dgm:pt>
    <dgm:pt modelId="{DE6C9287-BDEB-4E78-A72F-AAA7E3D2DAD0}" type="sibTrans" cxnId="{4390A4F6-D42F-4D71-8FC9-665C292C8555}">
      <dgm:prSet/>
      <dgm:spPr/>
      <dgm:t>
        <a:bodyPr/>
        <a:lstStyle/>
        <a:p>
          <a:endParaRPr lang="en-US"/>
        </a:p>
      </dgm:t>
    </dgm:pt>
    <dgm:pt modelId="{BB7DA02E-E517-4EE5-AEA7-A13B379BE4A5}">
      <dgm:prSet phldrT="[Text]"/>
      <dgm:spPr/>
      <dgm:t>
        <a:bodyPr/>
        <a:lstStyle/>
        <a:p>
          <a:r>
            <a:rPr lang="en-US"/>
            <a:t>SINT</a:t>
          </a:r>
        </a:p>
      </dgm:t>
    </dgm:pt>
    <dgm:pt modelId="{1466A4FA-3A3D-485A-ABDA-8B4E9FA2C2E1}" type="parTrans" cxnId="{06DDECAE-414E-48C3-9D67-8F5D5EE91701}">
      <dgm:prSet/>
      <dgm:spPr/>
      <dgm:t>
        <a:bodyPr/>
        <a:lstStyle/>
        <a:p>
          <a:endParaRPr lang="en-US"/>
        </a:p>
      </dgm:t>
    </dgm:pt>
    <dgm:pt modelId="{498AED54-0111-4909-90B9-C672646F664D}" type="sibTrans" cxnId="{06DDECAE-414E-48C3-9D67-8F5D5EE91701}">
      <dgm:prSet/>
      <dgm:spPr/>
      <dgm:t>
        <a:bodyPr/>
        <a:lstStyle/>
        <a:p>
          <a:endParaRPr lang="en-US"/>
        </a:p>
      </dgm:t>
    </dgm:pt>
    <dgm:pt modelId="{904C8F1F-D6CA-46B2-983D-6A2E351D43C7}">
      <dgm:prSet phldrT="[Text]"/>
      <dgm:spPr/>
      <dgm:t>
        <a:bodyPr/>
        <a:lstStyle/>
        <a:p>
          <a:r>
            <a:rPr lang="en-US"/>
            <a:t>USINT</a:t>
          </a:r>
        </a:p>
      </dgm:t>
    </dgm:pt>
    <dgm:pt modelId="{F9F1BF08-0718-49F2-9008-132A4616C980}" type="parTrans" cxnId="{C24EBBBD-51D0-4EB8-9DCC-49AD49C4FAC4}">
      <dgm:prSet/>
      <dgm:spPr/>
      <dgm:t>
        <a:bodyPr/>
        <a:lstStyle/>
        <a:p>
          <a:endParaRPr lang="en-US"/>
        </a:p>
      </dgm:t>
    </dgm:pt>
    <dgm:pt modelId="{8E4EAE57-D7BE-4FAA-AE64-BAD8CC9F42C8}" type="sibTrans" cxnId="{C24EBBBD-51D0-4EB8-9DCC-49AD49C4FAC4}">
      <dgm:prSet/>
      <dgm:spPr/>
      <dgm:t>
        <a:bodyPr/>
        <a:lstStyle/>
        <a:p>
          <a:endParaRPr lang="en-US"/>
        </a:p>
      </dgm:t>
    </dgm:pt>
    <dgm:pt modelId="{499280DE-C97D-40E5-93DF-503509814596}">
      <dgm:prSet phldrT="[Text]"/>
      <dgm:spPr/>
      <dgm:t>
        <a:bodyPr/>
        <a:lstStyle/>
        <a:p>
          <a:r>
            <a:rPr lang="en-US"/>
            <a:t>BYTE</a:t>
          </a:r>
        </a:p>
      </dgm:t>
    </dgm:pt>
    <dgm:pt modelId="{2216FD49-1709-4277-843A-AE83DA5306D9}" type="parTrans" cxnId="{F8C45BF1-6013-43BE-ADF0-A0DACAA22C85}">
      <dgm:prSet/>
      <dgm:spPr/>
      <dgm:t>
        <a:bodyPr/>
        <a:lstStyle/>
        <a:p>
          <a:endParaRPr lang="en-US"/>
        </a:p>
      </dgm:t>
    </dgm:pt>
    <dgm:pt modelId="{C1473B3E-E0AE-4CD9-8887-B9ABFD54BED9}" type="sibTrans" cxnId="{F8C45BF1-6013-43BE-ADF0-A0DACAA22C85}">
      <dgm:prSet/>
      <dgm:spPr/>
      <dgm:t>
        <a:bodyPr/>
        <a:lstStyle/>
        <a:p>
          <a:endParaRPr lang="en-US"/>
        </a:p>
      </dgm:t>
    </dgm:pt>
    <dgm:pt modelId="{E3D2925F-CDE0-4C88-97C0-5A59340C8D38}">
      <dgm:prSet phldrT="[Text]"/>
      <dgm:spPr/>
      <dgm:t>
        <a:bodyPr/>
        <a:lstStyle/>
        <a:p>
          <a:r>
            <a:rPr lang="en-US"/>
            <a:t>INT</a:t>
          </a:r>
        </a:p>
      </dgm:t>
    </dgm:pt>
    <dgm:pt modelId="{AFA8365A-FE51-46A3-8578-9FAC618C4991}" type="parTrans" cxnId="{6689021C-F081-4934-8BD0-3B79A156DAD5}">
      <dgm:prSet/>
      <dgm:spPr/>
      <dgm:t>
        <a:bodyPr/>
        <a:lstStyle/>
        <a:p>
          <a:endParaRPr lang="en-US"/>
        </a:p>
      </dgm:t>
    </dgm:pt>
    <dgm:pt modelId="{22CCD865-0A93-43E7-A60D-2CB56FCD8A01}" type="sibTrans" cxnId="{6689021C-F081-4934-8BD0-3B79A156DAD5}">
      <dgm:prSet/>
      <dgm:spPr/>
      <dgm:t>
        <a:bodyPr/>
        <a:lstStyle/>
        <a:p>
          <a:endParaRPr lang="en-US"/>
        </a:p>
      </dgm:t>
    </dgm:pt>
    <dgm:pt modelId="{16941BDF-6B2A-4F23-8A31-7FE3050C02B0}">
      <dgm:prSet phldrT="[Text]"/>
      <dgm:spPr/>
      <dgm:t>
        <a:bodyPr/>
        <a:lstStyle/>
        <a:p>
          <a:r>
            <a:rPr lang="en-US"/>
            <a:t>UINT</a:t>
          </a:r>
        </a:p>
      </dgm:t>
    </dgm:pt>
    <dgm:pt modelId="{E2974906-EE98-41F7-8F59-225D6A5D869B}" type="parTrans" cxnId="{C5CC471C-ED7C-46BA-B68D-C5136D34C2E5}">
      <dgm:prSet/>
      <dgm:spPr/>
      <dgm:t>
        <a:bodyPr/>
        <a:lstStyle/>
        <a:p>
          <a:endParaRPr lang="en-US"/>
        </a:p>
      </dgm:t>
    </dgm:pt>
    <dgm:pt modelId="{5B5EB569-C92B-4480-B122-95CECA9ABEC1}" type="sibTrans" cxnId="{C5CC471C-ED7C-46BA-B68D-C5136D34C2E5}">
      <dgm:prSet/>
      <dgm:spPr/>
      <dgm:t>
        <a:bodyPr/>
        <a:lstStyle/>
        <a:p>
          <a:endParaRPr lang="en-US"/>
        </a:p>
      </dgm:t>
    </dgm:pt>
    <dgm:pt modelId="{71776D91-FF32-4A2F-A6D1-0CBF3B8F5561}">
      <dgm:prSet phldrT="[Text]"/>
      <dgm:spPr/>
      <dgm:t>
        <a:bodyPr/>
        <a:lstStyle/>
        <a:p>
          <a:r>
            <a:rPr lang="en-US"/>
            <a:t>WORD</a:t>
          </a:r>
        </a:p>
      </dgm:t>
    </dgm:pt>
    <dgm:pt modelId="{8BE79FBA-0BE4-4170-8B54-D79E236BEE37}" type="parTrans" cxnId="{CBC99C03-F723-4267-B5D3-9342247A17B9}">
      <dgm:prSet/>
      <dgm:spPr/>
      <dgm:t>
        <a:bodyPr/>
        <a:lstStyle/>
        <a:p>
          <a:endParaRPr lang="en-US"/>
        </a:p>
      </dgm:t>
    </dgm:pt>
    <dgm:pt modelId="{D73BCBC0-033B-412A-AE5B-203F71D7D93E}" type="sibTrans" cxnId="{CBC99C03-F723-4267-B5D3-9342247A17B9}">
      <dgm:prSet/>
      <dgm:spPr/>
      <dgm:t>
        <a:bodyPr/>
        <a:lstStyle/>
        <a:p>
          <a:endParaRPr lang="en-US"/>
        </a:p>
      </dgm:t>
    </dgm:pt>
    <dgm:pt modelId="{0ADBFA6E-18BF-4476-803F-7A8D65F82556}">
      <dgm:prSet phldrT="[Text]"/>
      <dgm:spPr/>
      <dgm:t>
        <a:bodyPr/>
        <a:lstStyle/>
        <a:p>
          <a:r>
            <a:rPr lang="en-US"/>
            <a:t>DINT</a:t>
          </a:r>
        </a:p>
      </dgm:t>
    </dgm:pt>
    <dgm:pt modelId="{9A3E56EA-51FB-444D-A7A7-9C450B769342}" type="parTrans" cxnId="{507AB98F-E1F9-49BB-906F-BA187EF6AF93}">
      <dgm:prSet/>
      <dgm:spPr/>
      <dgm:t>
        <a:bodyPr/>
        <a:lstStyle/>
        <a:p>
          <a:endParaRPr lang="en-US"/>
        </a:p>
      </dgm:t>
    </dgm:pt>
    <dgm:pt modelId="{0036E42C-01B5-43AC-A409-766B5F8D9FF7}" type="sibTrans" cxnId="{507AB98F-E1F9-49BB-906F-BA187EF6AF93}">
      <dgm:prSet/>
      <dgm:spPr/>
      <dgm:t>
        <a:bodyPr/>
        <a:lstStyle/>
        <a:p>
          <a:endParaRPr lang="en-US"/>
        </a:p>
      </dgm:t>
    </dgm:pt>
    <dgm:pt modelId="{88D65469-1E47-4878-87CA-F49260AB1537}">
      <dgm:prSet phldrT="[Text]"/>
      <dgm:spPr/>
      <dgm:t>
        <a:bodyPr/>
        <a:lstStyle/>
        <a:p>
          <a:r>
            <a:rPr lang="en-US"/>
            <a:t>DWORD</a:t>
          </a:r>
        </a:p>
      </dgm:t>
    </dgm:pt>
    <dgm:pt modelId="{E8DF206F-B217-4A7F-ABD0-EE0C67009FE3}" type="parTrans" cxnId="{6980F64E-A28C-4374-861F-B06F8861EEF6}">
      <dgm:prSet/>
      <dgm:spPr/>
      <dgm:t>
        <a:bodyPr/>
        <a:lstStyle/>
        <a:p>
          <a:endParaRPr lang="en-US"/>
        </a:p>
      </dgm:t>
    </dgm:pt>
    <dgm:pt modelId="{8BE31E64-9014-400E-9B11-4E4C3C032997}" type="sibTrans" cxnId="{6980F64E-A28C-4374-861F-B06F8861EEF6}">
      <dgm:prSet/>
      <dgm:spPr/>
      <dgm:t>
        <a:bodyPr/>
        <a:lstStyle/>
        <a:p>
          <a:endParaRPr lang="en-US"/>
        </a:p>
      </dgm:t>
    </dgm:pt>
    <dgm:pt modelId="{445F2F54-F9B9-464E-9407-346D114C37CC}">
      <dgm:prSet phldrT="[Text]"/>
      <dgm:spPr/>
      <dgm:t>
        <a:bodyPr/>
        <a:lstStyle/>
        <a:p>
          <a:r>
            <a:rPr lang="en-US"/>
            <a:t>LINT</a:t>
          </a:r>
        </a:p>
      </dgm:t>
    </dgm:pt>
    <dgm:pt modelId="{AC9735AF-6708-4FDF-964F-CFE0E5B375EE}" type="parTrans" cxnId="{8B94B687-5DAE-4A25-B3B7-EB0C526769C3}">
      <dgm:prSet/>
      <dgm:spPr/>
      <dgm:t>
        <a:bodyPr/>
        <a:lstStyle/>
        <a:p>
          <a:endParaRPr lang="en-US"/>
        </a:p>
      </dgm:t>
    </dgm:pt>
    <dgm:pt modelId="{DB43E4BE-6040-4C33-9001-4A018B49E24F}" type="sibTrans" cxnId="{8B94B687-5DAE-4A25-B3B7-EB0C526769C3}">
      <dgm:prSet/>
      <dgm:spPr/>
      <dgm:t>
        <a:bodyPr/>
        <a:lstStyle/>
        <a:p>
          <a:endParaRPr lang="en-US"/>
        </a:p>
      </dgm:t>
    </dgm:pt>
    <dgm:pt modelId="{57220EE2-F05C-455C-92D0-F77287161B48}">
      <dgm:prSet phldrT="[Text]"/>
      <dgm:spPr/>
      <dgm:t>
        <a:bodyPr/>
        <a:lstStyle/>
        <a:p>
          <a:r>
            <a:rPr lang="en-US"/>
            <a:t>ULINT</a:t>
          </a:r>
        </a:p>
      </dgm:t>
    </dgm:pt>
    <dgm:pt modelId="{8AEFE465-986F-4DEF-BF0E-4A3F44AA9BC3}" type="parTrans" cxnId="{599E11BC-CC65-4AC2-A5D8-D02227029C65}">
      <dgm:prSet/>
      <dgm:spPr/>
      <dgm:t>
        <a:bodyPr/>
        <a:lstStyle/>
        <a:p>
          <a:endParaRPr lang="en-US"/>
        </a:p>
      </dgm:t>
    </dgm:pt>
    <dgm:pt modelId="{C30DA572-0F45-4661-8B7D-75A835311809}" type="sibTrans" cxnId="{599E11BC-CC65-4AC2-A5D8-D02227029C65}">
      <dgm:prSet/>
      <dgm:spPr/>
      <dgm:t>
        <a:bodyPr/>
        <a:lstStyle/>
        <a:p>
          <a:endParaRPr lang="en-US"/>
        </a:p>
      </dgm:t>
    </dgm:pt>
    <dgm:pt modelId="{B5D1E8F3-C949-4DCB-8EDF-B8EC8BF02049}">
      <dgm:prSet phldrT="[Text]"/>
      <dgm:spPr/>
      <dgm:t>
        <a:bodyPr/>
        <a:lstStyle/>
        <a:p>
          <a:r>
            <a:rPr lang="en-US"/>
            <a:t>LWORD</a:t>
          </a:r>
        </a:p>
      </dgm:t>
    </dgm:pt>
    <dgm:pt modelId="{9FCCCA2D-E38C-4445-BB1F-F357AFB66F08}" type="parTrans" cxnId="{DBEDA788-430E-4F34-829A-423AD1C54628}">
      <dgm:prSet/>
      <dgm:spPr/>
      <dgm:t>
        <a:bodyPr/>
        <a:lstStyle/>
        <a:p>
          <a:endParaRPr lang="en-US"/>
        </a:p>
      </dgm:t>
    </dgm:pt>
    <dgm:pt modelId="{90069487-E724-42E2-B681-E2DA2039EDC8}" type="sibTrans" cxnId="{DBEDA788-430E-4F34-829A-423AD1C54628}">
      <dgm:prSet/>
      <dgm:spPr/>
      <dgm:t>
        <a:bodyPr/>
        <a:lstStyle/>
        <a:p>
          <a:endParaRPr lang="en-US"/>
        </a:p>
      </dgm:t>
    </dgm:pt>
    <dgm:pt modelId="{0933F751-5A5F-4F90-A282-1304CECB0A20}">
      <dgm:prSet phldrT="[Text]"/>
      <dgm:spPr/>
      <dgm:t>
        <a:bodyPr/>
        <a:lstStyle/>
        <a:p>
          <a:r>
            <a:rPr lang="en-US"/>
            <a:t>TIME</a:t>
          </a:r>
        </a:p>
      </dgm:t>
    </dgm:pt>
    <dgm:pt modelId="{863B13C7-72E7-40FB-A7D1-1C6E065EBF1D}" type="parTrans" cxnId="{BCB382F8-DFE2-4DF7-89B3-C6342E676E31}">
      <dgm:prSet/>
      <dgm:spPr/>
      <dgm:t>
        <a:bodyPr/>
        <a:lstStyle/>
        <a:p>
          <a:endParaRPr lang="en-US"/>
        </a:p>
      </dgm:t>
    </dgm:pt>
    <dgm:pt modelId="{F48A6CAC-82FC-46AF-9B67-87F7B98D24B2}" type="sibTrans" cxnId="{BCB382F8-DFE2-4DF7-89B3-C6342E676E31}">
      <dgm:prSet/>
      <dgm:spPr/>
      <dgm:t>
        <a:bodyPr/>
        <a:lstStyle/>
        <a:p>
          <a:endParaRPr lang="en-US"/>
        </a:p>
      </dgm:t>
    </dgm:pt>
    <dgm:pt modelId="{83DFAAB1-9DE1-4C20-B578-670F3120E15D}">
      <dgm:prSet phldrT="[Text]"/>
      <dgm:spPr/>
      <dgm:t>
        <a:bodyPr/>
        <a:lstStyle/>
        <a:p>
          <a:r>
            <a:rPr lang="en-US"/>
            <a:t>STRING</a:t>
          </a:r>
        </a:p>
      </dgm:t>
    </dgm:pt>
    <dgm:pt modelId="{587A9CC3-677E-4899-96D2-1D84670A35DA}" type="parTrans" cxnId="{586F79BD-7444-4723-AC45-DDD5DC3C1FC9}">
      <dgm:prSet/>
      <dgm:spPr/>
      <dgm:t>
        <a:bodyPr/>
        <a:lstStyle/>
        <a:p>
          <a:endParaRPr lang="en-US"/>
        </a:p>
      </dgm:t>
    </dgm:pt>
    <dgm:pt modelId="{A2560A8C-0BC4-48D1-9312-49677D61FC24}" type="sibTrans" cxnId="{586F79BD-7444-4723-AC45-DDD5DC3C1FC9}">
      <dgm:prSet/>
      <dgm:spPr/>
      <dgm:t>
        <a:bodyPr/>
        <a:lstStyle/>
        <a:p>
          <a:endParaRPr lang="en-US"/>
        </a:p>
      </dgm:t>
    </dgm:pt>
    <dgm:pt modelId="{A76AB44F-4232-4A9B-AEBF-85B83C1CC9E1}" type="pres">
      <dgm:prSet presAssocID="{95F33173-4810-47E2-834C-D9773AAEE097}" presName="vert0" presStyleCnt="0">
        <dgm:presLayoutVars>
          <dgm:dir/>
          <dgm:animOne val="branch"/>
          <dgm:animLvl val="lvl"/>
        </dgm:presLayoutVars>
      </dgm:prSet>
      <dgm:spPr/>
    </dgm:pt>
    <dgm:pt modelId="{AEDA5F68-DB38-4CBB-85E6-7C7C9768F978}" type="pres">
      <dgm:prSet presAssocID="{311C52F4-E2A6-43BB-8B85-940807987884}" presName="thickLine" presStyleLbl="alignNode1" presStyleIdx="0" presStyleCnt="1"/>
      <dgm:spPr/>
    </dgm:pt>
    <dgm:pt modelId="{03A2C246-2D08-49D1-B4F6-5DBD027F0D11}" type="pres">
      <dgm:prSet presAssocID="{311C52F4-E2A6-43BB-8B85-940807987884}" presName="horz1" presStyleCnt="0"/>
      <dgm:spPr/>
    </dgm:pt>
    <dgm:pt modelId="{90C38840-F6DA-4B15-BF7D-AF57FD138F64}" type="pres">
      <dgm:prSet presAssocID="{311C52F4-E2A6-43BB-8B85-940807987884}" presName="tx1" presStyleLbl="revTx" presStyleIdx="0" presStyleCnt="17"/>
      <dgm:spPr/>
    </dgm:pt>
    <dgm:pt modelId="{31BCD210-338C-448F-BBA4-5CB0E93FAB76}" type="pres">
      <dgm:prSet presAssocID="{311C52F4-E2A6-43BB-8B85-940807987884}" presName="vert1" presStyleCnt="0"/>
      <dgm:spPr/>
    </dgm:pt>
    <dgm:pt modelId="{70B5DD39-F0E6-4CCD-A976-9336E6EDA19B}" type="pres">
      <dgm:prSet presAssocID="{60B3CEAA-6526-4F9F-AFC8-371B6E34BDAB}" presName="vertSpace2a" presStyleCnt="0"/>
      <dgm:spPr/>
    </dgm:pt>
    <dgm:pt modelId="{0296FAA2-AE4C-45CC-B57B-8F72A58ADA85}" type="pres">
      <dgm:prSet presAssocID="{60B3CEAA-6526-4F9F-AFC8-371B6E34BDAB}" presName="horz2" presStyleCnt="0"/>
      <dgm:spPr/>
    </dgm:pt>
    <dgm:pt modelId="{7AACAC38-353A-45A2-A6F4-AB83EBD72D04}" type="pres">
      <dgm:prSet presAssocID="{60B3CEAA-6526-4F9F-AFC8-371B6E34BDAB}" presName="horzSpace2" presStyleCnt="0"/>
      <dgm:spPr/>
    </dgm:pt>
    <dgm:pt modelId="{AC089D7D-CF93-4FD2-BA9F-1EED0D953510}" type="pres">
      <dgm:prSet presAssocID="{60B3CEAA-6526-4F9F-AFC8-371B6E34BDAB}" presName="tx2" presStyleLbl="revTx" presStyleIdx="1" presStyleCnt="17"/>
      <dgm:spPr/>
    </dgm:pt>
    <dgm:pt modelId="{5928A09A-52C2-4FCA-819D-3E354B694261}" type="pres">
      <dgm:prSet presAssocID="{60B3CEAA-6526-4F9F-AFC8-371B6E34BDAB}" presName="vert2" presStyleCnt="0"/>
      <dgm:spPr/>
    </dgm:pt>
    <dgm:pt modelId="{A32CE9FA-C2CB-4C6B-9FAE-461A308FEF09}" type="pres">
      <dgm:prSet presAssocID="{60B3CEAA-6526-4F9F-AFC8-371B6E34BDAB}" presName="thinLine2b" presStyleLbl="callout" presStyleIdx="0" presStyleCnt="16"/>
      <dgm:spPr/>
    </dgm:pt>
    <dgm:pt modelId="{E21BB954-3E77-4FA9-93A8-84FE98208B32}" type="pres">
      <dgm:prSet presAssocID="{60B3CEAA-6526-4F9F-AFC8-371B6E34BDAB}" presName="vertSpace2b" presStyleCnt="0"/>
      <dgm:spPr/>
    </dgm:pt>
    <dgm:pt modelId="{190981D1-B1C9-40B1-8AAC-5502C48ACFE8}" type="pres">
      <dgm:prSet presAssocID="{BB7DA02E-E517-4EE5-AEA7-A13B379BE4A5}" presName="horz2" presStyleCnt="0"/>
      <dgm:spPr/>
    </dgm:pt>
    <dgm:pt modelId="{73287DA4-4908-4E8B-A9FE-08BE2D0805DF}" type="pres">
      <dgm:prSet presAssocID="{BB7DA02E-E517-4EE5-AEA7-A13B379BE4A5}" presName="horzSpace2" presStyleCnt="0"/>
      <dgm:spPr/>
    </dgm:pt>
    <dgm:pt modelId="{ACD230D0-FFF4-4F83-9643-7EA2BC075469}" type="pres">
      <dgm:prSet presAssocID="{BB7DA02E-E517-4EE5-AEA7-A13B379BE4A5}" presName="tx2" presStyleLbl="revTx" presStyleIdx="2" presStyleCnt="17"/>
      <dgm:spPr/>
    </dgm:pt>
    <dgm:pt modelId="{A61784A7-BE43-4615-B446-070B34878E46}" type="pres">
      <dgm:prSet presAssocID="{BB7DA02E-E517-4EE5-AEA7-A13B379BE4A5}" presName="vert2" presStyleCnt="0"/>
      <dgm:spPr/>
    </dgm:pt>
    <dgm:pt modelId="{75B164C9-7B3F-4CAA-8BDE-8B04E56E05B1}" type="pres">
      <dgm:prSet presAssocID="{BB7DA02E-E517-4EE5-AEA7-A13B379BE4A5}" presName="thinLine2b" presStyleLbl="callout" presStyleIdx="1" presStyleCnt="16"/>
      <dgm:spPr/>
    </dgm:pt>
    <dgm:pt modelId="{29C174D5-A046-4462-8037-C660B5C7CDE8}" type="pres">
      <dgm:prSet presAssocID="{BB7DA02E-E517-4EE5-AEA7-A13B379BE4A5}" presName="vertSpace2b" presStyleCnt="0"/>
      <dgm:spPr/>
    </dgm:pt>
    <dgm:pt modelId="{470DBE40-1B9B-4809-8AB0-471EAF9EE1DD}" type="pres">
      <dgm:prSet presAssocID="{904C8F1F-D6CA-46B2-983D-6A2E351D43C7}" presName="horz2" presStyleCnt="0"/>
      <dgm:spPr/>
    </dgm:pt>
    <dgm:pt modelId="{74678753-528A-42C9-B59F-EF2DCAB13559}" type="pres">
      <dgm:prSet presAssocID="{904C8F1F-D6CA-46B2-983D-6A2E351D43C7}" presName="horzSpace2" presStyleCnt="0"/>
      <dgm:spPr/>
    </dgm:pt>
    <dgm:pt modelId="{BF82B72D-A957-43F3-92BB-B010F16E3D36}" type="pres">
      <dgm:prSet presAssocID="{904C8F1F-D6CA-46B2-983D-6A2E351D43C7}" presName="tx2" presStyleLbl="revTx" presStyleIdx="3" presStyleCnt="17"/>
      <dgm:spPr/>
    </dgm:pt>
    <dgm:pt modelId="{D1400BFD-46E1-4B38-BF30-533F19201A0A}" type="pres">
      <dgm:prSet presAssocID="{904C8F1F-D6CA-46B2-983D-6A2E351D43C7}" presName="vert2" presStyleCnt="0"/>
      <dgm:spPr/>
    </dgm:pt>
    <dgm:pt modelId="{6352B019-5E33-4940-B043-FACB9F821A15}" type="pres">
      <dgm:prSet presAssocID="{904C8F1F-D6CA-46B2-983D-6A2E351D43C7}" presName="thinLine2b" presStyleLbl="callout" presStyleIdx="2" presStyleCnt="16"/>
      <dgm:spPr/>
    </dgm:pt>
    <dgm:pt modelId="{D4C42D89-83E7-4AA4-9131-84FFC8583035}" type="pres">
      <dgm:prSet presAssocID="{904C8F1F-D6CA-46B2-983D-6A2E351D43C7}" presName="vertSpace2b" presStyleCnt="0"/>
      <dgm:spPr/>
    </dgm:pt>
    <dgm:pt modelId="{4238EEC5-5830-4134-916B-028923DF85EE}" type="pres">
      <dgm:prSet presAssocID="{499280DE-C97D-40E5-93DF-503509814596}" presName="horz2" presStyleCnt="0"/>
      <dgm:spPr/>
    </dgm:pt>
    <dgm:pt modelId="{8D981AEC-9055-492C-9C9B-7087535D1221}" type="pres">
      <dgm:prSet presAssocID="{499280DE-C97D-40E5-93DF-503509814596}" presName="horzSpace2" presStyleCnt="0"/>
      <dgm:spPr/>
    </dgm:pt>
    <dgm:pt modelId="{BE46E154-A1A8-41F1-8E54-1EE6C27C18E4}" type="pres">
      <dgm:prSet presAssocID="{499280DE-C97D-40E5-93DF-503509814596}" presName="tx2" presStyleLbl="revTx" presStyleIdx="4" presStyleCnt="17"/>
      <dgm:spPr/>
    </dgm:pt>
    <dgm:pt modelId="{944D918B-A0EA-4A4F-A48E-FEBD7554B6C4}" type="pres">
      <dgm:prSet presAssocID="{499280DE-C97D-40E5-93DF-503509814596}" presName="vert2" presStyleCnt="0"/>
      <dgm:spPr/>
    </dgm:pt>
    <dgm:pt modelId="{29FB5101-C34E-434D-B584-27B03120ED35}" type="pres">
      <dgm:prSet presAssocID="{499280DE-C97D-40E5-93DF-503509814596}" presName="thinLine2b" presStyleLbl="callout" presStyleIdx="3" presStyleCnt="16"/>
      <dgm:spPr/>
    </dgm:pt>
    <dgm:pt modelId="{C1FC5466-C847-408B-8819-2258E5EE9365}" type="pres">
      <dgm:prSet presAssocID="{499280DE-C97D-40E5-93DF-503509814596}" presName="vertSpace2b" presStyleCnt="0"/>
      <dgm:spPr/>
    </dgm:pt>
    <dgm:pt modelId="{2683529D-715D-4910-AA72-A06A180D83D5}" type="pres">
      <dgm:prSet presAssocID="{E3D2925F-CDE0-4C88-97C0-5A59340C8D38}" presName="horz2" presStyleCnt="0"/>
      <dgm:spPr/>
    </dgm:pt>
    <dgm:pt modelId="{ED694447-ABBF-43C8-A275-ED4AC80C6653}" type="pres">
      <dgm:prSet presAssocID="{E3D2925F-CDE0-4C88-97C0-5A59340C8D38}" presName="horzSpace2" presStyleCnt="0"/>
      <dgm:spPr/>
    </dgm:pt>
    <dgm:pt modelId="{A266113C-D01C-454F-B608-24A614AA1CA5}" type="pres">
      <dgm:prSet presAssocID="{E3D2925F-CDE0-4C88-97C0-5A59340C8D38}" presName="tx2" presStyleLbl="revTx" presStyleIdx="5" presStyleCnt="17"/>
      <dgm:spPr/>
    </dgm:pt>
    <dgm:pt modelId="{2A3F5676-F1BB-43FD-9A1C-37438C0FCCFD}" type="pres">
      <dgm:prSet presAssocID="{E3D2925F-CDE0-4C88-97C0-5A59340C8D38}" presName="vert2" presStyleCnt="0"/>
      <dgm:spPr/>
    </dgm:pt>
    <dgm:pt modelId="{7FE41DAE-B5DD-4A95-8B67-9E6839C8C95E}" type="pres">
      <dgm:prSet presAssocID="{E3D2925F-CDE0-4C88-97C0-5A59340C8D38}" presName="thinLine2b" presStyleLbl="callout" presStyleIdx="4" presStyleCnt="16"/>
      <dgm:spPr/>
    </dgm:pt>
    <dgm:pt modelId="{9C65A940-77E2-495F-BB59-CF15ED04ADB8}" type="pres">
      <dgm:prSet presAssocID="{E3D2925F-CDE0-4C88-97C0-5A59340C8D38}" presName="vertSpace2b" presStyleCnt="0"/>
      <dgm:spPr/>
    </dgm:pt>
    <dgm:pt modelId="{50E79312-A549-445A-86F4-8066C6156B2C}" type="pres">
      <dgm:prSet presAssocID="{16941BDF-6B2A-4F23-8A31-7FE3050C02B0}" presName="horz2" presStyleCnt="0"/>
      <dgm:spPr/>
    </dgm:pt>
    <dgm:pt modelId="{1C6F8C43-8EC9-488E-BDB6-41E7C2E34C01}" type="pres">
      <dgm:prSet presAssocID="{16941BDF-6B2A-4F23-8A31-7FE3050C02B0}" presName="horzSpace2" presStyleCnt="0"/>
      <dgm:spPr/>
    </dgm:pt>
    <dgm:pt modelId="{A57C2110-462D-472D-BA17-3F97043017A8}" type="pres">
      <dgm:prSet presAssocID="{16941BDF-6B2A-4F23-8A31-7FE3050C02B0}" presName="tx2" presStyleLbl="revTx" presStyleIdx="6" presStyleCnt="17"/>
      <dgm:spPr/>
    </dgm:pt>
    <dgm:pt modelId="{C434FB3B-F1AA-4798-BC4D-6D15FCBB0E68}" type="pres">
      <dgm:prSet presAssocID="{16941BDF-6B2A-4F23-8A31-7FE3050C02B0}" presName="vert2" presStyleCnt="0"/>
      <dgm:spPr/>
    </dgm:pt>
    <dgm:pt modelId="{AAD56D4D-45F3-4C30-A5DC-515783A926A2}" type="pres">
      <dgm:prSet presAssocID="{16941BDF-6B2A-4F23-8A31-7FE3050C02B0}" presName="thinLine2b" presStyleLbl="callout" presStyleIdx="5" presStyleCnt="16"/>
      <dgm:spPr/>
    </dgm:pt>
    <dgm:pt modelId="{CCDC5735-7481-4233-A32C-44182AA1860B}" type="pres">
      <dgm:prSet presAssocID="{16941BDF-6B2A-4F23-8A31-7FE3050C02B0}" presName="vertSpace2b" presStyleCnt="0"/>
      <dgm:spPr/>
    </dgm:pt>
    <dgm:pt modelId="{368A2896-023A-4017-AC08-9F8A6473A230}" type="pres">
      <dgm:prSet presAssocID="{71776D91-FF32-4A2F-A6D1-0CBF3B8F5561}" presName="horz2" presStyleCnt="0"/>
      <dgm:spPr/>
    </dgm:pt>
    <dgm:pt modelId="{C8B26C78-7D69-4A58-9A1C-8C79424CFFFC}" type="pres">
      <dgm:prSet presAssocID="{71776D91-FF32-4A2F-A6D1-0CBF3B8F5561}" presName="horzSpace2" presStyleCnt="0"/>
      <dgm:spPr/>
    </dgm:pt>
    <dgm:pt modelId="{456CD534-1D90-451B-B242-846092421D6D}" type="pres">
      <dgm:prSet presAssocID="{71776D91-FF32-4A2F-A6D1-0CBF3B8F5561}" presName="tx2" presStyleLbl="revTx" presStyleIdx="7" presStyleCnt="17"/>
      <dgm:spPr/>
    </dgm:pt>
    <dgm:pt modelId="{A58D505C-FEF9-441E-90E1-A8B39A2AC4F0}" type="pres">
      <dgm:prSet presAssocID="{71776D91-FF32-4A2F-A6D1-0CBF3B8F5561}" presName="vert2" presStyleCnt="0"/>
      <dgm:spPr/>
    </dgm:pt>
    <dgm:pt modelId="{693615FE-1FE4-4CBB-8BAD-203705657481}" type="pres">
      <dgm:prSet presAssocID="{71776D91-FF32-4A2F-A6D1-0CBF3B8F5561}" presName="thinLine2b" presStyleLbl="callout" presStyleIdx="6" presStyleCnt="16"/>
      <dgm:spPr/>
    </dgm:pt>
    <dgm:pt modelId="{67092582-4A29-43FA-954F-B338651AC4DE}" type="pres">
      <dgm:prSet presAssocID="{71776D91-FF32-4A2F-A6D1-0CBF3B8F5561}" presName="vertSpace2b" presStyleCnt="0"/>
      <dgm:spPr/>
    </dgm:pt>
    <dgm:pt modelId="{B487484B-ABD3-424A-8707-1C5F01680B11}" type="pres">
      <dgm:prSet presAssocID="{0ADBFA6E-18BF-4476-803F-7A8D65F82556}" presName="horz2" presStyleCnt="0"/>
      <dgm:spPr/>
    </dgm:pt>
    <dgm:pt modelId="{DF23F979-C31D-4512-881C-5D28812F6AA4}" type="pres">
      <dgm:prSet presAssocID="{0ADBFA6E-18BF-4476-803F-7A8D65F82556}" presName="horzSpace2" presStyleCnt="0"/>
      <dgm:spPr/>
    </dgm:pt>
    <dgm:pt modelId="{08B1B8DE-E871-497A-9690-037009F5F175}" type="pres">
      <dgm:prSet presAssocID="{0ADBFA6E-18BF-4476-803F-7A8D65F82556}" presName="tx2" presStyleLbl="revTx" presStyleIdx="8" presStyleCnt="17"/>
      <dgm:spPr/>
    </dgm:pt>
    <dgm:pt modelId="{1C703C25-1315-4D9A-9FC1-2CFDBC7E5702}" type="pres">
      <dgm:prSet presAssocID="{0ADBFA6E-18BF-4476-803F-7A8D65F82556}" presName="vert2" presStyleCnt="0"/>
      <dgm:spPr/>
    </dgm:pt>
    <dgm:pt modelId="{5C30380A-8D7B-4250-8217-2CE2C540B2BD}" type="pres">
      <dgm:prSet presAssocID="{0ADBFA6E-18BF-4476-803F-7A8D65F82556}" presName="thinLine2b" presStyleLbl="callout" presStyleIdx="7" presStyleCnt="16"/>
      <dgm:spPr/>
    </dgm:pt>
    <dgm:pt modelId="{A10400E7-0D93-46F1-ADCE-511B0E9D96E3}" type="pres">
      <dgm:prSet presAssocID="{0ADBFA6E-18BF-4476-803F-7A8D65F82556}" presName="vertSpace2b" presStyleCnt="0"/>
      <dgm:spPr/>
    </dgm:pt>
    <dgm:pt modelId="{80DE269E-2F61-4876-A887-80869022EE9A}" type="pres">
      <dgm:prSet presAssocID="{88D65469-1E47-4878-87CA-F49260AB1537}" presName="horz2" presStyleCnt="0"/>
      <dgm:spPr/>
    </dgm:pt>
    <dgm:pt modelId="{981F93BD-B940-407C-A715-12B988DE8616}" type="pres">
      <dgm:prSet presAssocID="{88D65469-1E47-4878-87CA-F49260AB1537}" presName="horzSpace2" presStyleCnt="0"/>
      <dgm:spPr/>
    </dgm:pt>
    <dgm:pt modelId="{1B5D6913-E199-4039-A20B-CA5F4755B9ED}" type="pres">
      <dgm:prSet presAssocID="{88D65469-1E47-4878-87CA-F49260AB1537}" presName="tx2" presStyleLbl="revTx" presStyleIdx="9" presStyleCnt="17"/>
      <dgm:spPr/>
    </dgm:pt>
    <dgm:pt modelId="{B93415AB-1E23-40DA-B49F-2E243F582BA5}" type="pres">
      <dgm:prSet presAssocID="{88D65469-1E47-4878-87CA-F49260AB1537}" presName="vert2" presStyleCnt="0"/>
      <dgm:spPr/>
    </dgm:pt>
    <dgm:pt modelId="{4D870915-B8B4-4591-B866-F361B34BB9C0}" type="pres">
      <dgm:prSet presAssocID="{88D65469-1E47-4878-87CA-F49260AB1537}" presName="thinLine2b" presStyleLbl="callout" presStyleIdx="8" presStyleCnt="16"/>
      <dgm:spPr/>
    </dgm:pt>
    <dgm:pt modelId="{BA64682E-D91F-4B7B-A15E-DA1C8120648B}" type="pres">
      <dgm:prSet presAssocID="{88D65469-1E47-4878-87CA-F49260AB1537}" presName="vertSpace2b" presStyleCnt="0"/>
      <dgm:spPr/>
    </dgm:pt>
    <dgm:pt modelId="{A1F8282D-98DA-4A03-BD85-77FB907A49EC}" type="pres">
      <dgm:prSet presAssocID="{445F2F54-F9B9-464E-9407-346D114C37CC}" presName="horz2" presStyleCnt="0"/>
      <dgm:spPr/>
    </dgm:pt>
    <dgm:pt modelId="{B38B9349-D8FB-4A08-8E32-2D9C5697B792}" type="pres">
      <dgm:prSet presAssocID="{445F2F54-F9B9-464E-9407-346D114C37CC}" presName="horzSpace2" presStyleCnt="0"/>
      <dgm:spPr/>
    </dgm:pt>
    <dgm:pt modelId="{35583A45-9A6D-4A10-A2A6-A8E7EC7172E5}" type="pres">
      <dgm:prSet presAssocID="{445F2F54-F9B9-464E-9407-346D114C37CC}" presName="tx2" presStyleLbl="revTx" presStyleIdx="10" presStyleCnt="17"/>
      <dgm:spPr/>
    </dgm:pt>
    <dgm:pt modelId="{480399E8-BEFE-4CAB-AD93-D07260293A02}" type="pres">
      <dgm:prSet presAssocID="{445F2F54-F9B9-464E-9407-346D114C37CC}" presName="vert2" presStyleCnt="0"/>
      <dgm:spPr/>
    </dgm:pt>
    <dgm:pt modelId="{AC7BB51E-06C6-4833-81A5-41B0038DA01C}" type="pres">
      <dgm:prSet presAssocID="{445F2F54-F9B9-464E-9407-346D114C37CC}" presName="thinLine2b" presStyleLbl="callout" presStyleIdx="9" presStyleCnt="16"/>
      <dgm:spPr/>
    </dgm:pt>
    <dgm:pt modelId="{B22088F7-0255-433F-8811-6E7C095A471A}" type="pres">
      <dgm:prSet presAssocID="{445F2F54-F9B9-464E-9407-346D114C37CC}" presName="vertSpace2b" presStyleCnt="0"/>
      <dgm:spPr/>
    </dgm:pt>
    <dgm:pt modelId="{0361A772-926B-489F-A996-C9609154420F}" type="pres">
      <dgm:prSet presAssocID="{57220EE2-F05C-455C-92D0-F77287161B48}" presName="horz2" presStyleCnt="0"/>
      <dgm:spPr/>
    </dgm:pt>
    <dgm:pt modelId="{F0AE170B-AEB0-44E0-AF77-4D707B1D9D10}" type="pres">
      <dgm:prSet presAssocID="{57220EE2-F05C-455C-92D0-F77287161B48}" presName="horzSpace2" presStyleCnt="0"/>
      <dgm:spPr/>
    </dgm:pt>
    <dgm:pt modelId="{C86F2C1B-2D3B-4879-AE9F-213C70FCB66F}" type="pres">
      <dgm:prSet presAssocID="{57220EE2-F05C-455C-92D0-F77287161B48}" presName="tx2" presStyleLbl="revTx" presStyleIdx="11" presStyleCnt="17"/>
      <dgm:spPr/>
    </dgm:pt>
    <dgm:pt modelId="{BB6C5347-235B-424A-ACC2-4474601A9FF9}" type="pres">
      <dgm:prSet presAssocID="{57220EE2-F05C-455C-92D0-F77287161B48}" presName="vert2" presStyleCnt="0"/>
      <dgm:spPr/>
    </dgm:pt>
    <dgm:pt modelId="{E3DDFE8F-7B87-4A81-B86A-A773EED95464}" type="pres">
      <dgm:prSet presAssocID="{57220EE2-F05C-455C-92D0-F77287161B48}" presName="thinLine2b" presStyleLbl="callout" presStyleIdx="10" presStyleCnt="16"/>
      <dgm:spPr/>
    </dgm:pt>
    <dgm:pt modelId="{32911EC1-6098-4A89-87F3-456466E0338C}" type="pres">
      <dgm:prSet presAssocID="{57220EE2-F05C-455C-92D0-F77287161B48}" presName="vertSpace2b" presStyleCnt="0"/>
      <dgm:spPr/>
    </dgm:pt>
    <dgm:pt modelId="{D9E5B1CA-A00E-4DA7-9F4B-1A03262B9A5B}" type="pres">
      <dgm:prSet presAssocID="{B5D1E8F3-C949-4DCB-8EDF-B8EC8BF02049}" presName="horz2" presStyleCnt="0"/>
      <dgm:spPr/>
    </dgm:pt>
    <dgm:pt modelId="{7DCB0F95-454B-405A-842A-E00B8DF2A6EC}" type="pres">
      <dgm:prSet presAssocID="{B5D1E8F3-C949-4DCB-8EDF-B8EC8BF02049}" presName="horzSpace2" presStyleCnt="0"/>
      <dgm:spPr/>
    </dgm:pt>
    <dgm:pt modelId="{0E4E4016-7E8C-408B-A686-A8E1BCD4506D}" type="pres">
      <dgm:prSet presAssocID="{B5D1E8F3-C949-4DCB-8EDF-B8EC8BF02049}" presName="tx2" presStyleLbl="revTx" presStyleIdx="12" presStyleCnt="17"/>
      <dgm:spPr/>
    </dgm:pt>
    <dgm:pt modelId="{8E19583A-440A-4D6E-A8A2-41FD21E8485D}" type="pres">
      <dgm:prSet presAssocID="{B5D1E8F3-C949-4DCB-8EDF-B8EC8BF02049}" presName="vert2" presStyleCnt="0"/>
      <dgm:spPr/>
    </dgm:pt>
    <dgm:pt modelId="{45EE0D7F-6306-4B79-BAF5-563F5CBC8B64}" type="pres">
      <dgm:prSet presAssocID="{B5D1E8F3-C949-4DCB-8EDF-B8EC8BF02049}" presName="thinLine2b" presStyleLbl="callout" presStyleIdx="11" presStyleCnt="16"/>
      <dgm:spPr/>
    </dgm:pt>
    <dgm:pt modelId="{04654A8D-5C8E-4512-B571-E897F90DA7E0}" type="pres">
      <dgm:prSet presAssocID="{B5D1E8F3-C949-4DCB-8EDF-B8EC8BF02049}" presName="vertSpace2b" presStyleCnt="0"/>
      <dgm:spPr/>
    </dgm:pt>
    <dgm:pt modelId="{8437384F-0A5F-446B-9021-A85A33249FB8}" type="pres">
      <dgm:prSet presAssocID="{78156408-1511-4D46-849D-8138B1CDCD05}" presName="horz2" presStyleCnt="0"/>
      <dgm:spPr/>
    </dgm:pt>
    <dgm:pt modelId="{5EF1AFDA-2430-46B0-B4ED-905D500A3663}" type="pres">
      <dgm:prSet presAssocID="{78156408-1511-4D46-849D-8138B1CDCD05}" presName="horzSpace2" presStyleCnt="0"/>
      <dgm:spPr/>
    </dgm:pt>
    <dgm:pt modelId="{B42C7542-EC28-4D81-8500-63D2F65BF284}" type="pres">
      <dgm:prSet presAssocID="{78156408-1511-4D46-849D-8138B1CDCD05}" presName="tx2" presStyleLbl="revTx" presStyleIdx="13" presStyleCnt="17"/>
      <dgm:spPr/>
    </dgm:pt>
    <dgm:pt modelId="{0AFB59DC-A2F1-40B8-9F04-0D5AAA1DB7F2}" type="pres">
      <dgm:prSet presAssocID="{78156408-1511-4D46-849D-8138B1CDCD05}" presName="vert2" presStyleCnt="0"/>
      <dgm:spPr/>
    </dgm:pt>
    <dgm:pt modelId="{8D22B8BA-B4A0-4183-B08F-28001A2B6636}" type="pres">
      <dgm:prSet presAssocID="{78156408-1511-4D46-849D-8138B1CDCD05}" presName="thinLine2b" presStyleLbl="callout" presStyleIdx="12" presStyleCnt="16"/>
      <dgm:spPr/>
    </dgm:pt>
    <dgm:pt modelId="{6F242872-5467-4C65-AE61-D64FF48A5707}" type="pres">
      <dgm:prSet presAssocID="{78156408-1511-4D46-849D-8138B1CDCD05}" presName="vertSpace2b" presStyleCnt="0"/>
      <dgm:spPr/>
    </dgm:pt>
    <dgm:pt modelId="{CB7E1EB3-28FB-414B-9864-0B86E1B69C23}" type="pres">
      <dgm:prSet presAssocID="{11DC502B-0718-4D2F-A5E9-8EDAC1B76D35}" presName="horz2" presStyleCnt="0"/>
      <dgm:spPr/>
    </dgm:pt>
    <dgm:pt modelId="{5A9188A4-2A62-4B47-A740-7663528D6FE7}" type="pres">
      <dgm:prSet presAssocID="{11DC502B-0718-4D2F-A5E9-8EDAC1B76D35}" presName="horzSpace2" presStyleCnt="0"/>
      <dgm:spPr/>
    </dgm:pt>
    <dgm:pt modelId="{DB64D356-55DD-4D54-8146-C37FFE150EEA}" type="pres">
      <dgm:prSet presAssocID="{11DC502B-0718-4D2F-A5E9-8EDAC1B76D35}" presName="tx2" presStyleLbl="revTx" presStyleIdx="14" presStyleCnt="17"/>
      <dgm:spPr/>
    </dgm:pt>
    <dgm:pt modelId="{C93EF402-E55E-48CA-9305-993459FADA69}" type="pres">
      <dgm:prSet presAssocID="{11DC502B-0718-4D2F-A5E9-8EDAC1B76D35}" presName="vert2" presStyleCnt="0"/>
      <dgm:spPr/>
    </dgm:pt>
    <dgm:pt modelId="{0188A1DD-8A12-4846-825B-A9BD80E610E9}" type="pres">
      <dgm:prSet presAssocID="{11DC502B-0718-4D2F-A5E9-8EDAC1B76D35}" presName="thinLine2b" presStyleLbl="callout" presStyleIdx="13" presStyleCnt="16"/>
      <dgm:spPr/>
    </dgm:pt>
    <dgm:pt modelId="{FF08BA36-B119-4499-BEF6-AF84A0A5824B}" type="pres">
      <dgm:prSet presAssocID="{11DC502B-0718-4D2F-A5E9-8EDAC1B76D35}" presName="vertSpace2b" presStyleCnt="0"/>
      <dgm:spPr/>
    </dgm:pt>
    <dgm:pt modelId="{AC0238CA-68E6-458A-BE52-08129F6BDC69}" type="pres">
      <dgm:prSet presAssocID="{0933F751-5A5F-4F90-A282-1304CECB0A20}" presName="horz2" presStyleCnt="0"/>
      <dgm:spPr/>
    </dgm:pt>
    <dgm:pt modelId="{251B40F5-7C08-4986-B4C2-C2F54A128E2B}" type="pres">
      <dgm:prSet presAssocID="{0933F751-5A5F-4F90-A282-1304CECB0A20}" presName="horzSpace2" presStyleCnt="0"/>
      <dgm:spPr/>
    </dgm:pt>
    <dgm:pt modelId="{65E09B91-D9B3-4395-B3DA-2F44B903E33D}" type="pres">
      <dgm:prSet presAssocID="{0933F751-5A5F-4F90-A282-1304CECB0A20}" presName="tx2" presStyleLbl="revTx" presStyleIdx="15" presStyleCnt="17"/>
      <dgm:spPr/>
    </dgm:pt>
    <dgm:pt modelId="{64FE0328-7ECE-4A41-81FD-92BA09EE0944}" type="pres">
      <dgm:prSet presAssocID="{0933F751-5A5F-4F90-A282-1304CECB0A20}" presName="vert2" presStyleCnt="0"/>
      <dgm:spPr/>
    </dgm:pt>
    <dgm:pt modelId="{CECF0841-54CE-4DFB-95E8-C87BA9CBD1EB}" type="pres">
      <dgm:prSet presAssocID="{0933F751-5A5F-4F90-A282-1304CECB0A20}" presName="thinLine2b" presStyleLbl="callout" presStyleIdx="14" presStyleCnt="16"/>
      <dgm:spPr/>
    </dgm:pt>
    <dgm:pt modelId="{9EFC3F19-E639-423B-92DB-1EB36788E551}" type="pres">
      <dgm:prSet presAssocID="{0933F751-5A5F-4F90-A282-1304CECB0A20}" presName="vertSpace2b" presStyleCnt="0"/>
      <dgm:spPr/>
    </dgm:pt>
    <dgm:pt modelId="{8AD04E3A-F569-4DC0-A756-5EA2DE565310}" type="pres">
      <dgm:prSet presAssocID="{83DFAAB1-9DE1-4C20-B578-670F3120E15D}" presName="horz2" presStyleCnt="0"/>
      <dgm:spPr/>
    </dgm:pt>
    <dgm:pt modelId="{6E3FCD69-3B7E-42C3-A1FD-DBECCEBB1C6E}" type="pres">
      <dgm:prSet presAssocID="{83DFAAB1-9DE1-4C20-B578-670F3120E15D}" presName="horzSpace2" presStyleCnt="0"/>
      <dgm:spPr/>
    </dgm:pt>
    <dgm:pt modelId="{2D35330D-E0B5-4D0E-8A8B-25B4E6666D46}" type="pres">
      <dgm:prSet presAssocID="{83DFAAB1-9DE1-4C20-B578-670F3120E15D}" presName="tx2" presStyleLbl="revTx" presStyleIdx="16" presStyleCnt="17"/>
      <dgm:spPr/>
    </dgm:pt>
    <dgm:pt modelId="{FD9E9281-2B4E-4A69-B276-9BDAA7B57C1C}" type="pres">
      <dgm:prSet presAssocID="{83DFAAB1-9DE1-4C20-B578-670F3120E15D}" presName="vert2" presStyleCnt="0"/>
      <dgm:spPr/>
    </dgm:pt>
    <dgm:pt modelId="{E34AA8E0-28F4-4AD9-A916-75294B6038A1}" type="pres">
      <dgm:prSet presAssocID="{83DFAAB1-9DE1-4C20-B578-670F3120E15D}" presName="thinLine2b" presStyleLbl="callout" presStyleIdx="15" presStyleCnt="16"/>
      <dgm:spPr/>
    </dgm:pt>
    <dgm:pt modelId="{FA6F3BD3-B07D-4554-BF0C-35BAA818B0C8}" type="pres">
      <dgm:prSet presAssocID="{83DFAAB1-9DE1-4C20-B578-670F3120E15D}" presName="vertSpace2b" presStyleCnt="0"/>
      <dgm:spPr/>
    </dgm:pt>
  </dgm:ptLst>
  <dgm:cxnLst>
    <dgm:cxn modelId="{CBC99C03-F723-4267-B5D3-9342247A17B9}" srcId="{311C52F4-E2A6-43BB-8B85-940807987884}" destId="{71776D91-FF32-4A2F-A6D1-0CBF3B8F5561}" srcOrd="6" destOrd="0" parTransId="{8BE79FBA-0BE4-4170-8B54-D79E236BEE37}" sibTransId="{D73BCBC0-033B-412A-AE5B-203F71D7D93E}"/>
    <dgm:cxn modelId="{AD8CA806-3CEF-413D-ACAB-091CEC0ADDA4}" srcId="{95F33173-4810-47E2-834C-D9773AAEE097}" destId="{311C52F4-E2A6-43BB-8B85-940807987884}" srcOrd="0" destOrd="0" parTransId="{E2F706DD-E8A6-4EEB-A8F5-71AEB3805D87}" sibTransId="{1F2626F3-5054-4EBE-9FA4-7E4BF871A7D5}"/>
    <dgm:cxn modelId="{6689021C-F081-4934-8BD0-3B79A156DAD5}" srcId="{311C52F4-E2A6-43BB-8B85-940807987884}" destId="{E3D2925F-CDE0-4C88-97C0-5A59340C8D38}" srcOrd="4" destOrd="0" parTransId="{AFA8365A-FE51-46A3-8578-9FAC618C4991}" sibTransId="{22CCD865-0A93-43E7-A60D-2CB56FCD8A01}"/>
    <dgm:cxn modelId="{C5CC471C-ED7C-46BA-B68D-C5136D34C2E5}" srcId="{311C52F4-E2A6-43BB-8B85-940807987884}" destId="{16941BDF-6B2A-4F23-8A31-7FE3050C02B0}" srcOrd="5" destOrd="0" parTransId="{E2974906-EE98-41F7-8F59-225D6A5D869B}" sibTransId="{5B5EB569-C92B-4480-B122-95CECA9ABEC1}"/>
    <dgm:cxn modelId="{2D3A2624-AB7B-4300-88F5-4B74A8F7E09B}" type="presOf" srcId="{78156408-1511-4D46-849D-8138B1CDCD05}" destId="{B42C7542-EC28-4D81-8500-63D2F65BF284}" srcOrd="0" destOrd="0" presId="urn:microsoft.com/office/officeart/2008/layout/LinedList"/>
    <dgm:cxn modelId="{8F2C1628-6A37-4FE5-BC11-6A62D9279432}" type="presOf" srcId="{BB7DA02E-E517-4EE5-AEA7-A13B379BE4A5}" destId="{ACD230D0-FFF4-4F83-9643-7EA2BC075469}" srcOrd="0" destOrd="0" presId="urn:microsoft.com/office/officeart/2008/layout/LinedList"/>
    <dgm:cxn modelId="{2A240B32-B89D-480C-B361-A0C4E897B310}" srcId="{311C52F4-E2A6-43BB-8B85-940807987884}" destId="{60B3CEAA-6526-4F9F-AFC8-371B6E34BDAB}" srcOrd="0" destOrd="0" parTransId="{C260140B-D5BE-43E6-8FE2-EE7B232E0374}" sibTransId="{8275358D-4CAD-4EE4-AB7B-280B0323EC9A}"/>
    <dgm:cxn modelId="{81980639-8479-456B-AEC9-013AD6881534}" type="presOf" srcId="{88D65469-1E47-4878-87CA-F49260AB1537}" destId="{1B5D6913-E199-4039-A20B-CA5F4755B9ED}" srcOrd="0" destOrd="0" presId="urn:microsoft.com/office/officeart/2008/layout/LinedList"/>
    <dgm:cxn modelId="{38D5B046-1252-4872-B797-C465A0063CBA}" type="presOf" srcId="{0933F751-5A5F-4F90-A282-1304CECB0A20}" destId="{65E09B91-D9B3-4395-B3DA-2F44B903E33D}" srcOrd="0" destOrd="0" presId="urn:microsoft.com/office/officeart/2008/layout/LinedList"/>
    <dgm:cxn modelId="{9D5C1148-DA1C-41BF-B2D1-A4CB184B80AF}" srcId="{311C52F4-E2A6-43BB-8B85-940807987884}" destId="{78156408-1511-4D46-849D-8138B1CDCD05}" srcOrd="12" destOrd="0" parTransId="{C942E23E-20AD-4EA3-A7DF-66BEFB142269}" sibTransId="{937321A8-7FEC-4FA4-9B29-E6EB7ABD308B}"/>
    <dgm:cxn modelId="{92E4384E-C108-4450-BC3E-7BAB04FE8A25}" type="presOf" srcId="{499280DE-C97D-40E5-93DF-503509814596}" destId="{BE46E154-A1A8-41F1-8E54-1EE6C27C18E4}" srcOrd="0" destOrd="0" presId="urn:microsoft.com/office/officeart/2008/layout/LinedList"/>
    <dgm:cxn modelId="{6980F64E-A28C-4374-861F-B06F8861EEF6}" srcId="{311C52F4-E2A6-43BB-8B85-940807987884}" destId="{88D65469-1E47-4878-87CA-F49260AB1537}" srcOrd="8" destOrd="0" parTransId="{E8DF206F-B217-4A7F-ABD0-EE0C67009FE3}" sibTransId="{8BE31E64-9014-400E-9B11-4E4C3C032997}"/>
    <dgm:cxn modelId="{B38F524F-F6BD-4D8C-8B25-E2ADBD42C47C}" type="presOf" srcId="{60B3CEAA-6526-4F9F-AFC8-371B6E34BDAB}" destId="{AC089D7D-CF93-4FD2-BA9F-1EED0D953510}" srcOrd="0" destOrd="0" presId="urn:microsoft.com/office/officeart/2008/layout/LinedList"/>
    <dgm:cxn modelId="{F0A5BB7D-9336-4D16-B7C2-27FFAD5882EF}" type="presOf" srcId="{311C52F4-E2A6-43BB-8B85-940807987884}" destId="{90C38840-F6DA-4B15-BF7D-AF57FD138F64}" srcOrd="0" destOrd="0" presId="urn:microsoft.com/office/officeart/2008/layout/LinedList"/>
    <dgm:cxn modelId="{213D8180-E66D-4EB3-9A89-113C493DEDB0}" type="presOf" srcId="{71776D91-FF32-4A2F-A6D1-0CBF3B8F5561}" destId="{456CD534-1D90-451B-B242-846092421D6D}" srcOrd="0" destOrd="0" presId="urn:microsoft.com/office/officeart/2008/layout/LinedList"/>
    <dgm:cxn modelId="{8B94B687-5DAE-4A25-B3B7-EB0C526769C3}" srcId="{311C52F4-E2A6-43BB-8B85-940807987884}" destId="{445F2F54-F9B9-464E-9407-346D114C37CC}" srcOrd="9" destOrd="0" parTransId="{AC9735AF-6708-4FDF-964F-CFE0E5B375EE}" sibTransId="{DB43E4BE-6040-4C33-9001-4A018B49E24F}"/>
    <dgm:cxn modelId="{DBEDA788-430E-4F34-829A-423AD1C54628}" srcId="{311C52F4-E2A6-43BB-8B85-940807987884}" destId="{B5D1E8F3-C949-4DCB-8EDF-B8EC8BF02049}" srcOrd="11" destOrd="0" parTransId="{9FCCCA2D-E38C-4445-BB1F-F357AFB66F08}" sibTransId="{90069487-E724-42E2-B681-E2DA2039EDC8}"/>
    <dgm:cxn modelId="{507AB98F-E1F9-49BB-906F-BA187EF6AF93}" srcId="{311C52F4-E2A6-43BB-8B85-940807987884}" destId="{0ADBFA6E-18BF-4476-803F-7A8D65F82556}" srcOrd="7" destOrd="0" parTransId="{9A3E56EA-51FB-444D-A7A7-9C450B769342}" sibTransId="{0036E42C-01B5-43AC-A409-766B5F8D9FF7}"/>
    <dgm:cxn modelId="{F32F57A0-5D3B-43CF-B50C-08169C73904F}" type="presOf" srcId="{57220EE2-F05C-455C-92D0-F77287161B48}" destId="{C86F2C1B-2D3B-4879-AE9F-213C70FCB66F}" srcOrd="0" destOrd="0" presId="urn:microsoft.com/office/officeart/2008/layout/LinedList"/>
    <dgm:cxn modelId="{CD2550AE-2128-4DE0-8B75-E0AFF2993C36}" type="presOf" srcId="{904C8F1F-D6CA-46B2-983D-6A2E351D43C7}" destId="{BF82B72D-A957-43F3-92BB-B010F16E3D36}" srcOrd="0" destOrd="0" presId="urn:microsoft.com/office/officeart/2008/layout/LinedList"/>
    <dgm:cxn modelId="{06DDECAE-414E-48C3-9D67-8F5D5EE91701}" srcId="{311C52F4-E2A6-43BB-8B85-940807987884}" destId="{BB7DA02E-E517-4EE5-AEA7-A13B379BE4A5}" srcOrd="1" destOrd="0" parTransId="{1466A4FA-3A3D-485A-ABDA-8B4E9FA2C2E1}" sibTransId="{498AED54-0111-4909-90B9-C672646F664D}"/>
    <dgm:cxn modelId="{14A010B8-7EFA-43BD-A84C-ABA77F7B1E03}" type="presOf" srcId="{11DC502B-0718-4D2F-A5E9-8EDAC1B76D35}" destId="{DB64D356-55DD-4D54-8146-C37FFE150EEA}" srcOrd="0" destOrd="0" presId="urn:microsoft.com/office/officeart/2008/layout/LinedList"/>
    <dgm:cxn modelId="{599E11BC-CC65-4AC2-A5D8-D02227029C65}" srcId="{311C52F4-E2A6-43BB-8B85-940807987884}" destId="{57220EE2-F05C-455C-92D0-F77287161B48}" srcOrd="10" destOrd="0" parTransId="{8AEFE465-986F-4DEF-BF0E-4A3F44AA9BC3}" sibTransId="{C30DA572-0F45-4661-8B7D-75A835311809}"/>
    <dgm:cxn modelId="{586F79BD-7444-4723-AC45-DDD5DC3C1FC9}" srcId="{311C52F4-E2A6-43BB-8B85-940807987884}" destId="{83DFAAB1-9DE1-4C20-B578-670F3120E15D}" srcOrd="15" destOrd="0" parTransId="{587A9CC3-677E-4899-96D2-1D84670A35DA}" sibTransId="{A2560A8C-0BC4-48D1-9312-49677D61FC24}"/>
    <dgm:cxn modelId="{C24EBBBD-51D0-4EB8-9DCC-49AD49C4FAC4}" srcId="{311C52F4-E2A6-43BB-8B85-940807987884}" destId="{904C8F1F-D6CA-46B2-983D-6A2E351D43C7}" srcOrd="2" destOrd="0" parTransId="{F9F1BF08-0718-49F2-9008-132A4616C980}" sibTransId="{8E4EAE57-D7BE-4FAA-AE64-BAD8CC9F42C8}"/>
    <dgm:cxn modelId="{FC7B3DD8-CF24-4F4C-9BE3-A8F55067A9C9}" type="presOf" srcId="{16941BDF-6B2A-4F23-8A31-7FE3050C02B0}" destId="{A57C2110-462D-472D-BA17-3F97043017A8}" srcOrd="0" destOrd="0" presId="urn:microsoft.com/office/officeart/2008/layout/LinedList"/>
    <dgm:cxn modelId="{74578FDC-E39C-4DEE-8018-68645BB145AD}" type="presOf" srcId="{E3D2925F-CDE0-4C88-97C0-5A59340C8D38}" destId="{A266113C-D01C-454F-B608-24A614AA1CA5}" srcOrd="0" destOrd="0" presId="urn:microsoft.com/office/officeart/2008/layout/LinedList"/>
    <dgm:cxn modelId="{96E5E4E1-D6EF-44DC-9C8A-1A666A2C951D}" type="presOf" srcId="{445F2F54-F9B9-464E-9407-346D114C37CC}" destId="{35583A45-9A6D-4A10-A2A6-A8E7EC7172E5}" srcOrd="0" destOrd="0" presId="urn:microsoft.com/office/officeart/2008/layout/LinedList"/>
    <dgm:cxn modelId="{279EC6EF-D3CA-466A-B9B8-9E651862A54B}" type="presOf" srcId="{95F33173-4810-47E2-834C-D9773AAEE097}" destId="{A76AB44F-4232-4A9B-AEBF-85B83C1CC9E1}" srcOrd="0" destOrd="0" presId="urn:microsoft.com/office/officeart/2008/layout/LinedList"/>
    <dgm:cxn modelId="{F8C45BF1-6013-43BE-ADF0-A0DACAA22C85}" srcId="{311C52F4-E2A6-43BB-8B85-940807987884}" destId="{499280DE-C97D-40E5-93DF-503509814596}" srcOrd="3" destOrd="0" parTransId="{2216FD49-1709-4277-843A-AE83DA5306D9}" sibTransId="{C1473B3E-E0AE-4CD9-8887-B9ABFD54BED9}"/>
    <dgm:cxn modelId="{4390A4F6-D42F-4D71-8FC9-665C292C8555}" srcId="{311C52F4-E2A6-43BB-8B85-940807987884}" destId="{11DC502B-0718-4D2F-A5E9-8EDAC1B76D35}" srcOrd="13" destOrd="0" parTransId="{5AEE2A2E-D6A6-4209-9150-DF0CE5966CEC}" sibTransId="{DE6C9287-BDEB-4E78-A72F-AAA7E3D2DAD0}"/>
    <dgm:cxn modelId="{91A8F4F6-63FD-48C1-8C17-C1AAF95819E0}" type="presOf" srcId="{B5D1E8F3-C949-4DCB-8EDF-B8EC8BF02049}" destId="{0E4E4016-7E8C-408B-A686-A8E1BCD4506D}" srcOrd="0" destOrd="0" presId="urn:microsoft.com/office/officeart/2008/layout/LinedList"/>
    <dgm:cxn modelId="{B9F6BFF7-975B-4071-BC41-52888D18243D}" type="presOf" srcId="{83DFAAB1-9DE1-4C20-B578-670F3120E15D}" destId="{2D35330D-E0B5-4D0E-8A8B-25B4E6666D46}" srcOrd="0" destOrd="0" presId="urn:microsoft.com/office/officeart/2008/layout/LinedList"/>
    <dgm:cxn modelId="{BCB382F8-DFE2-4DF7-89B3-C6342E676E31}" srcId="{311C52F4-E2A6-43BB-8B85-940807987884}" destId="{0933F751-5A5F-4F90-A282-1304CECB0A20}" srcOrd="14" destOrd="0" parTransId="{863B13C7-72E7-40FB-A7D1-1C6E065EBF1D}" sibTransId="{F48A6CAC-82FC-46AF-9B67-87F7B98D24B2}"/>
    <dgm:cxn modelId="{B7E4F9FB-8B08-4697-9FB5-0120B112DDF4}" type="presOf" srcId="{0ADBFA6E-18BF-4476-803F-7A8D65F82556}" destId="{08B1B8DE-E871-497A-9690-037009F5F175}" srcOrd="0" destOrd="0" presId="urn:microsoft.com/office/officeart/2008/layout/LinedList"/>
    <dgm:cxn modelId="{B884F153-410A-4B01-8B0C-584FAFC93B70}" type="presParOf" srcId="{A76AB44F-4232-4A9B-AEBF-85B83C1CC9E1}" destId="{AEDA5F68-DB38-4CBB-85E6-7C7C9768F978}" srcOrd="0" destOrd="0" presId="urn:microsoft.com/office/officeart/2008/layout/LinedList"/>
    <dgm:cxn modelId="{03454406-9492-4B51-82AC-44D193AB7ED3}" type="presParOf" srcId="{A76AB44F-4232-4A9B-AEBF-85B83C1CC9E1}" destId="{03A2C246-2D08-49D1-B4F6-5DBD027F0D11}" srcOrd="1" destOrd="0" presId="urn:microsoft.com/office/officeart/2008/layout/LinedList"/>
    <dgm:cxn modelId="{022E5678-41EE-4695-9DA5-5A9EDDFC29E4}" type="presParOf" srcId="{03A2C246-2D08-49D1-B4F6-5DBD027F0D11}" destId="{90C38840-F6DA-4B15-BF7D-AF57FD138F64}" srcOrd="0" destOrd="0" presId="urn:microsoft.com/office/officeart/2008/layout/LinedList"/>
    <dgm:cxn modelId="{0A47188F-FBB6-4FF6-9567-6AEC13ADB9F8}" type="presParOf" srcId="{03A2C246-2D08-49D1-B4F6-5DBD027F0D11}" destId="{31BCD210-338C-448F-BBA4-5CB0E93FAB76}" srcOrd="1" destOrd="0" presId="urn:microsoft.com/office/officeart/2008/layout/LinedList"/>
    <dgm:cxn modelId="{458A764F-29F8-489C-8D93-F3F16545E92F}" type="presParOf" srcId="{31BCD210-338C-448F-BBA4-5CB0E93FAB76}" destId="{70B5DD39-F0E6-4CCD-A976-9336E6EDA19B}" srcOrd="0" destOrd="0" presId="urn:microsoft.com/office/officeart/2008/layout/LinedList"/>
    <dgm:cxn modelId="{D6E053A1-B004-4586-A867-AAFFD837BD78}" type="presParOf" srcId="{31BCD210-338C-448F-BBA4-5CB0E93FAB76}" destId="{0296FAA2-AE4C-45CC-B57B-8F72A58ADA85}" srcOrd="1" destOrd="0" presId="urn:microsoft.com/office/officeart/2008/layout/LinedList"/>
    <dgm:cxn modelId="{539223C0-5B16-41D2-8FEC-C735518F3F6D}" type="presParOf" srcId="{0296FAA2-AE4C-45CC-B57B-8F72A58ADA85}" destId="{7AACAC38-353A-45A2-A6F4-AB83EBD72D04}" srcOrd="0" destOrd="0" presId="urn:microsoft.com/office/officeart/2008/layout/LinedList"/>
    <dgm:cxn modelId="{121F2519-4EC0-428B-B261-F1435C3B3E9D}" type="presParOf" srcId="{0296FAA2-AE4C-45CC-B57B-8F72A58ADA85}" destId="{AC089D7D-CF93-4FD2-BA9F-1EED0D953510}" srcOrd="1" destOrd="0" presId="urn:microsoft.com/office/officeart/2008/layout/LinedList"/>
    <dgm:cxn modelId="{348A9D89-9070-4D1F-AE41-9AC86F24C017}" type="presParOf" srcId="{0296FAA2-AE4C-45CC-B57B-8F72A58ADA85}" destId="{5928A09A-52C2-4FCA-819D-3E354B694261}" srcOrd="2" destOrd="0" presId="urn:microsoft.com/office/officeart/2008/layout/LinedList"/>
    <dgm:cxn modelId="{3AE3BBB9-C6F6-4DF3-AB6B-3B25D8A949A5}" type="presParOf" srcId="{31BCD210-338C-448F-BBA4-5CB0E93FAB76}" destId="{A32CE9FA-C2CB-4C6B-9FAE-461A308FEF09}" srcOrd="2" destOrd="0" presId="urn:microsoft.com/office/officeart/2008/layout/LinedList"/>
    <dgm:cxn modelId="{860B8E21-CD15-45E4-B33A-2D5687863F35}" type="presParOf" srcId="{31BCD210-338C-448F-BBA4-5CB0E93FAB76}" destId="{E21BB954-3E77-4FA9-93A8-84FE98208B32}" srcOrd="3" destOrd="0" presId="urn:microsoft.com/office/officeart/2008/layout/LinedList"/>
    <dgm:cxn modelId="{3572ECC3-D947-4997-AB53-2CEF2AF75A4A}" type="presParOf" srcId="{31BCD210-338C-448F-BBA4-5CB0E93FAB76}" destId="{190981D1-B1C9-40B1-8AAC-5502C48ACFE8}" srcOrd="4" destOrd="0" presId="urn:microsoft.com/office/officeart/2008/layout/LinedList"/>
    <dgm:cxn modelId="{D336C9FA-F111-41F1-A559-22173C237498}" type="presParOf" srcId="{190981D1-B1C9-40B1-8AAC-5502C48ACFE8}" destId="{73287DA4-4908-4E8B-A9FE-08BE2D0805DF}" srcOrd="0" destOrd="0" presId="urn:microsoft.com/office/officeart/2008/layout/LinedList"/>
    <dgm:cxn modelId="{8AA7A40E-FA58-41A6-B35B-E35CD3DD5C52}" type="presParOf" srcId="{190981D1-B1C9-40B1-8AAC-5502C48ACFE8}" destId="{ACD230D0-FFF4-4F83-9643-7EA2BC075469}" srcOrd="1" destOrd="0" presId="urn:microsoft.com/office/officeart/2008/layout/LinedList"/>
    <dgm:cxn modelId="{1E1AF8CD-36B9-4E85-AC8F-006956833FE6}" type="presParOf" srcId="{190981D1-B1C9-40B1-8AAC-5502C48ACFE8}" destId="{A61784A7-BE43-4615-B446-070B34878E46}" srcOrd="2" destOrd="0" presId="urn:microsoft.com/office/officeart/2008/layout/LinedList"/>
    <dgm:cxn modelId="{D1D29DAB-DB79-4CB7-B012-6E7003473E51}" type="presParOf" srcId="{31BCD210-338C-448F-BBA4-5CB0E93FAB76}" destId="{75B164C9-7B3F-4CAA-8BDE-8B04E56E05B1}" srcOrd="5" destOrd="0" presId="urn:microsoft.com/office/officeart/2008/layout/LinedList"/>
    <dgm:cxn modelId="{D46DCE02-68B0-46AC-95F0-0CB470AAF820}" type="presParOf" srcId="{31BCD210-338C-448F-BBA4-5CB0E93FAB76}" destId="{29C174D5-A046-4462-8037-C660B5C7CDE8}" srcOrd="6" destOrd="0" presId="urn:microsoft.com/office/officeart/2008/layout/LinedList"/>
    <dgm:cxn modelId="{2AAF3D37-2394-4C21-802F-F7A688DC9A8C}" type="presParOf" srcId="{31BCD210-338C-448F-BBA4-5CB0E93FAB76}" destId="{470DBE40-1B9B-4809-8AB0-471EAF9EE1DD}" srcOrd="7" destOrd="0" presId="urn:microsoft.com/office/officeart/2008/layout/LinedList"/>
    <dgm:cxn modelId="{549E5272-19F3-42FB-8FBC-478063F6F38E}" type="presParOf" srcId="{470DBE40-1B9B-4809-8AB0-471EAF9EE1DD}" destId="{74678753-528A-42C9-B59F-EF2DCAB13559}" srcOrd="0" destOrd="0" presId="urn:microsoft.com/office/officeart/2008/layout/LinedList"/>
    <dgm:cxn modelId="{68EB81E6-4AF4-4858-8D63-0D574E841D01}" type="presParOf" srcId="{470DBE40-1B9B-4809-8AB0-471EAF9EE1DD}" destId="{BF82B72D-A957-43F3-92BB-B010F16E3D36}" srcOrd="1" destOrd="0" presId="urn:microsoft.com/office/officeart/2008/layout/LinedList"/>
    <dgm:cxn modelId="{0C8C649A-13B7-417E-AC79-1C488AA04599}" type="presParOf" srcId="{470DBE40-1B9B-4809-8AB0-471EAF9EE1DD}" destId="{D1400BFD-46E1-4B38-BF30-533F19201A0A}" srcOrd="2" destOrd="0" presId="urn:microsoft.com/office/officeart/2008/layout/LinedList"/>
    <dgm:cxn modelId="{BB3F8C30-9F7F-4B31-AAA1-B6D86E2948BB}" type="presParOf" srcId="{31BCD210-338C-448F-BBA4-5CB0E93FAB76}" destId="{6352B019-5E33-4940-B043-FACB9F821A15}" srcOrd="8" destOrd="0" presId="urn:microsoft.com/office/officeart/2008/layout/LinedList"/>
    <dgm:cxn modelId="{600D5545-75D7-4A9C-99DE-078A318D7E29}" type="presParOf" srcId="{31BCD210-338C-448F-BBA4-5CB0E93FAB76}" destId="{D4C42D89-83E7-4AA4-9131-84FFC8583035}" srcOrd="9" destOrd="0" presId="urn:microsoft.com/office/officeart/2008/layout/LinedList"/>
    <dgm:cxn modelId="{15C64758-A91E-47DE-8DFB-C49BAEC8B588}" type="presParOf" srcId="{31BCD210-338C-448F-BBA4-5CB0E93FAB76}" destId="{4238EEC5-5830-4134-916B-028923DF85EE}" srcOrd="10" destOrd="0" presId="urn:microsoft.com/office/officeart/2008/layout/LinedList"/>
    <dgm:cxn modelId="{780D2C51-D9BB-4CDB-B7EE-585DB03BDFF7}" type="presParOf" srcId="{4238EEC5-5830-4134-916B-028923DF85EE}" destId="{8D981AEC-9055-492C-9C9B-7087535D1221}" srcOrd="0" destOrd="0" presId="urn:microsoft.com/office/officeart/2008/layout/LinedList"/>
    <dgm:cxn modelId="{B7633111-710C-47B8-9E31-8046D48C7258}" type="presParOf" srcId="{4238EEC5-5830-4134-916B-028923DF85EE}" destId="{BE46E154-A1A8-41F1-8E54-1EE6C27C18E4}" srcOrd="1" destOrd="0" presId="urn:microsoft.com/office/officeart/2008/layout/LinedList"/>
    <dgm:cxn modelId="{EF9F3732-66AE-4D78-A5F5-7E8F1A992F1D}" type="presParOf" srcId="{4238EEC5-5830-4134-916B-028923DF85EE}" destId="{944D918B-A0EA-4A4F-A48E-FEBD7554B6C4}" srcOrd="2" destOrd="0" presId="urn:microsoft.com/office/officeart/2008/layout/LinedList"/>
    <dgm:cxn modelId="{F1743CBB-47C9-4184-A1BB-84CF10ABCDFF}" type="presParOf" srcId="{31BCD210-338C-448F-BBA4-5CB0E93FAB76}" destId="{29FB5101-C34E-434D-B584-27B03120ED35}" srcOrd="11" destOrd="0" presId="urn:microsoft.com/office/officeart/2008/layout/LinedList"/>
    <dgm:cxn modelId="{29E0A087-6F31-4061-8D25-C7088520C0EE}" type="presParOf" srcId="{31BCD210-338C-448F-BBA4-5CB0E93FAB76}" destId="{C1FC5466-C847-408B-8819-2258E5EE9365}" srcOrd="12" destOrd="0" presId="urn:microsoft.com/office/officeart/2008/layout/LinedList"/>
    <dgm:cxn modelId="{7748730C-6215-4D62-A2FA-42241C469DA1}" type="presParOf" srcId="{31BCD210-338C-448F-BBA4-5CB0E93FAB76}" destId="{2683529D-715D-4910-AA72-A06A180D83D5}" srcOrd="13" destOrd="0" presId="urn:microsoft.com/office/officeart/2008/layout/LinedList"/>
    <dgm:cxn modelId="{7179D63D-DEFD-4F0A-B844-BA1B68269394}" type="presParOf" srcId="{2683529D-715D-4910-AA72-A06A180D83D5}" destId="{ED694447-ABBF-43C8-A275-ED4AC80C6653}" srcOrd="0" destOrd="0" presId="urn:microsoft.com/office/officeart/2008/layout/LinedList"/>
    <dgm:cxn modelId="{63B88F0A-7B64-40A6-A6AD-9CDC66A8F494}" type="presParOf" srcId="{2683529D-715D-4910-AA72-A06A180D83D5}" destId="{A266113C-D01C-454F-B608-24A614AA1CA5}" srcOrd="1" destOrd="0" presId="urn:microsoft.com/office/officeart/2008/layout/LinedList"/>
    <dgm:cxn modelId="{8E2F8B2A-B2C3-4262-A90A-C52F7328609B}" type="presParOf" srcId="{2683529D-715D-4910-AA72-A06A180D83D5}" destId="{2A3F5676-F1BB-43FD-9A1C-37438C0FCCFD}" srcOrd="2" destOrd="0" presId="urn:microsoft.com/office/officeart/2008/layout/LinedList"/>
    <dgm:cxn modelId="{689734E3-F026-4A9E-A2AC-6852E40EE201}" type="presParOf" srcId="{31BCD210-338C-448F-BBA4-5CB0E93FAB76}" destId="{7FE41DAE-B5DD-4A95-8B67-9E6839C8C95E}" srcOrd="14" destOrd="0" presId="urn:microsoft.com/office/officeart/2008/layout/LinedList"/>
    <dgm:cxn modelId="{E8794212-1F36-4BCB-9A3F-579BAFA6E476}" type="presParOf" srcId="{31BCD210-338C-448F-BBA4-5CB0E93FAB76}" destId="{9C65A940-77E2-495F-BB59-CF15ED04ADB8}" srcOrd="15" destOrd="0" presId="urn:microsoft.com/office/officeart/2008/layout/LinedList"/>
    <dgm:cxn modelId="{E6912DFD-B20C-44D2-B11D-AF099CB7EB6E}" type="presParOf" srcId="{31BCD210-338C-448F-BBA4-5CB0E93FAB76}" destId="{50E79312-A549-445A-86F4-8066C6156B2C}" srcOrd="16" destOrd="0" presId="urn:microsoft.com/office/officeart/2008/layout/LinedList"/>
    <dgm:cxn modelId="{1A1640C5-6818-4C84-A74E-459041BF1CBD}" type="presParOf" srcId="{50E79312-A549-445A-86F4-8066C6156B2C}" destId="{1C6F8C43-8EC9-488E-BDB6-41E7C2E34C01}" srcOrd="0" destOrd="0" presId="urn:microsoft.com/office/officeart/2008/layout/LinedList"/>
    <dgm:cxn modelId="{71128051-80F0-46CF-8250-BF1F36C9526D}" type="presParOf" srcId="{50E79312-A549-445A-86F4-8066C6156B2C}" destId="{A57C2110-462D-472D-BA17-3F97043017A8}" srcOrd="1" destOrd="0" presId="urn:microsoft.com/office/officeart/2008/layout/LinedList"/>
    <dgm:cxn modelId="{6193A0A8-BF4E-49FD-8526-184297D911F9}" type="presParOf" srcId="{50E79312-A549-445A-86F4-8066C6156B2C}" destId="{C434FB3B-F1AA-4798-BC4D-6D15FCBB0E68}" srcOrd="2" destOrd="0" presId="urn:microsoft.com/office/officeart/2008/layout/LinedList"/>
    <dgm:cxn modelId="{4F8CC773-909B-4E76-85C0-7E956DB0515B}" type="presParOf" srcId="{31BCD210-338C-448F-BBA4-5CB0E93FAB76}" destId="{AAD56D4D-45F3-4C30-A5DC-515783A926A2}" srcOrd="17" destOrd="0" presId="urn:microsoft.com/office/officeart/2008/layout/LinedList"/>
    <dgm:cxn modelId="{8D3196FF-5791-4E30-A747-67FFF0401827}" type="presParOf" srcId="{31BCD210-338C-448F-BBA4-5CB0E93FAB76}" destId="{CCDC5735-7481-4233-A32C-44182AA1860B}" srcOrd="18" destOrd="0" presId="urn:microsoft.com/office/officeart/2008/layout/LinedList"/>
    <dgm:cxn modelId="{BF01DCDD-CAA0-4536-9B8D-9E3AA8C78703}" type="presParOf" srcId="{31BCD210-338C-448F-BBA4-5CB0E93FAB76}" destId="{368A2896-023A-4017-AC08-9F8A6473A230}" srcOrd="19" destOrd="0" presId="urn:microsoft.com/office/officeart/2008/layout/LinedList"/>
    <dgm:cxn modelId="{8C23AB33-141B-493A-9BA8-FF3181DAC952}" type="presParOf" srcId="{368A2896-023A-4017-AC08-9F8A6473A230}" destId="{C8B26C78-7D69-4A58-9A1C-8C79424CFFFC}" srcOrd="0" destOrd="0" presId="urn:microsoft.com/office/officeart/2008/layout/LinedList"/>
    <dgm:cxn modelId="{1BE9F578-1E21-4D3D-80C7-BBF3A8A01F3B}" type="presParOf" srcId="{368A2896-023A-4017-AC08-9F8A6473A230}" destId="{456CD534-1D90-451B-B242-846092421D6D}" srcOrd="1" destOrd="0" presId="urn:microsoft.com/office/officeart/2008/layout/LinedList"/>
    <dgm:cxn modelId="{9A64FA40-2241-4548-99CD-B0640CE610A4}" type="presParOf" srcId="{368A2896-023A-4017-AC08-9F8A6473A230}" destId="{A58D505C-FEF9-441E-90E1-A8B39A2AC4F0}" srcOrd="2" destOrd="0" presId="urn:microsoft.com/office/officeart/2008/layout/LinedList"/>
    <dgm:cxn modelId="{FA447D64-B461-45C2-9CC3-64FE7C9CE853}" type="presParOf" srcId="{31BCD210-338C-448F-BBA4-5CB0E93FAB76}" destId="{693615FE-1FE4-4CBB-8BAD-203705657481}" srcOrd="20" destOrd="0" presId="urn:microsoft.com/office/officeart/2008/layout/LinedList"/>
    <dgm:cxn modelId="{E69C4910-221E-412F-9D41-0A22DA9D1543}" type="presParOf" srcId="{31BCD210-338C-448F-BBA4-5CB0E93FAB76}" destId="{67092582-4A29-43FA-954F-B338651AC4DE}" srcOrd="21" destOrd="0" presId="urn:microsoft.com/office/officeart/2008/layout/LinedList"/>
    <dgm:cxn modelId="{06E60850-A9DB-415E-BDD9-31C166F3B669}" type="presParOf" srcId="{31BCD210-338C-448F-BBA4-5CB0E93FAB76}" destId="{B487484B-ABD3-424A-8707-1C5F01680B11}" srcOrd="22" destOrd="0" presId="urn:microsoft.com/office/officeart/2008/layout/LinedList"/>
    <dgm:cxn modelId="{0104D935-A924-4590-90E6-0C3733BB03F6}" type="presParOf" srcId="{B487484B-ABD3-424A-8707-1C5F01680B11}" destId="{DF23F979-C31D-4512-881C-5D28812F6AA4}" srcOrd="0" destOrd="0" presId="urn:microsoft.com/office/officeart/2008/layout/LinedList"/>
    <dgm:cxn modelId="{19BDCDBB-0FA7-4111-8567-4C3F2A1BBF83}" type="presParOf" srcId="{B487484B-ABD3-424A-8707-1C5F01680B11}" destId="{08B1B8DE-E871-497A-9690-037009F5F175}" srcOrd="1" destOrd="0" presId="urn:microsoft.com/office/officeart/2008/layout/LinedList"/>
    <dgm:cxn modelId="{E03B034E-5FC1-4BDD-974F-5F2D9729AC86}" type="presParOf" srcId="{B487484B-ABD3-424A-8707-1C5F01680B11}" destId="{1C703C25-1315-4D9A-9FC1-2CFDBC7E5702}" srcOrd="2" destOrd="0" presId="urn:microsoft.com/office/officeart/2008/layout/LinedList"/>
    <dgm:cxn modelId="{E61D0465-772C-4252-8473-74B7C8A9E9E1}" type="presParOf" srcId="{31BCD210-338C-448F-BBA4-5CB0E93FAB76}" destId="{5C30380A-8D7B-4250-8217-2CE2C540B2BD}" srcOrd="23" destOrd="0" presId="urn:microsoft.com/office/officeart/2008/layout/LinedList"/>
    <dgm:cxn modelId="{FE5E77BF-C758-48F8-919B-B3E27E7D05F8}" type="presParOf" srcId="{31BCD210-338C-448F-BBA4-5CB0E93FAB76}" destId="{A10400E7-0D93-46F1-ADCE-511B0E9D96E3}" srcOrd="24" destOrd="0" presId="urn:microsoft.com/office/officeart/2008/layout/LinedList"/>
    <dgm:cxn modelId="{204F37EC-3B40-49C4-AC1D-B5A99FB27920}" type="presParOf" srcId="{31BCD210-338C-448F-BBA4-5CB0E93FAB76}" destId="{80DE269E-2F61-4876-A887-80869022EE9A}" srcOrd="25" destOrd="0" presId="urn:microsoft.com/office/officeart/2008/layout/LinedList"/>
    <dgm:cxn modelId="{6F9550FC-888D-4037-8F4B-40CE02E2C524}" type="presParOf" srcId="{80DE269E-2F61-4876-A887-80869022EE9A}" destId="{981F93BD-B940-407C-A715-12B988DE8616}" srcOrd="0" destOrd="0" presId="urn:microsoft.com/office/officeart/2008/layout/LinedList"/>
    <dgm:cxn modelId="{6F6CA856-DA68-4F9C-9AAF-546008A26505}" type="presParOf" srcId="{80DE269E-2F61-4876-A887-80869022EE9A}" destId="{1B5D6913-E199-4039-A20B-CA5F4755B9ED}" srcOrd="1" destOrd="0" presId="urn:microsoft.com/office/officeart/2008/layout/LinedList"/>
    <dgm:cxn modelId="{4DEEFE6F-F48C-4724-A3B0-AB367FC5122D}" type="presParOf" srcId="{80DE269E-2F61-4876-A887-80869022EE9A}" destId="{B93415AB-1E23-40DA-B49F-2E243F582BA5}" srcOrd="2" destOrd="0" presId="urn:microsoft.com/office/officeart/2008/layout/LinedList"/>
    <dgm:cxn modelId="{E76BBCBA-04FD-40F8-9FB2-7042D84E418C}" type="presParOf" srcId="{31BCD210-338C-448F-BBA4-5CB0E93FAB76}" destId="{4D870915-B8B4-4591-B866-F361B34BB9C0}" srcOrd="26" destOrd="0" presId="urn:microsoft.com/office/officeart/2008/layout/LinedList"/>
    <dgm:cxn modelId="{DE0C6B34-A23A-45F9-9755-26E4F15A609D}" type="presParOf" srcId="{31BCD210-338C-448F-BBA4-5CB0E93FAB76}" destId="{BA64682E-D91F-4B7B-A15E-DA1C8120648B}" srcOrd="27" destOrd="0" presId="urn:microsoft.com/office/officeart/2008/layout/LinedList"/>
    <dgm:cxn modelId="{1DCDDD88-3D52-4539-9B15-038F5446FD83}" type="presParOf" srcId="{31BCD210-338C-448F-BBA4-5CB0E93FAB76}" destId="{A1F8282D-98DA-4A03-BD85-77FB907A49EC}" srcOrd="28" destOrd="0" presId="urn:microsoft.com/office/officeart/2008/layout/LinedList"/>
    <dgm:cxn modelId="{54E319CB-D771-4DBD-9772-239F673B6A72}" type="presParOf" srcId="{A1F8282D-98DA-4A03-BD85-77FB907A49EC}" destId="{B38B9349-D8FB-4A08-8E32-2D9C5697B792}" srcOrd="0" destOrd="0" presId="urn:microsoft.com/office/officeart/2008/layout/LinedList"/>
    <dgm:cxn modelId="{C556E543-5622-409D-8318-91F3A8DD6EDA}" type="presParOf" srcId="{A1F8282D-98DA-4A03-BD85-77FB907A49EC}" destId="{35583A45-9A6D-4A10-A2A6-A8E7EC7172E5}" srcOrd="1" destOrd="0" presId="urn:microsoft.com/office/officeart/2008/layout/LinedList"/>
    <dgm:cxn modelId="{54D82000-90EC-4DFD-ADC5-C04C38AA45EB}" type="presParOf" srcId="{A1F8282D-98DA-4A03-BD85-77FB907A49EC}" destId="{480399E8-BEFE-4CAB-AD93-D07260293A02}" srcOrd="2" destOrd="0" presId="urn:microsoft.com/office/officeart/2008/layout/LinedList"/>
    <dgm:cxn modelId="{55D2C8E4-95D8-44CB-914B-9322E7764594}" type="presParOf" srcId="{31BCD210-338C-448F-BBA4-5CB0E93FAB76}" destId="{AC7BB51E-06C6-4833-81A5-41B0038DA01C}" srcOrd="29" destOrd="0" presId="urn:microsoft.com/office/officeart/2008/layout/LinedList"/>
    <dgm:cxn modelId="{E9EFCB25-A0F9-4309-9ABC-5AD260D9A20B}" type="presParOf" srcId="{31BCD210-338C-448F-BBA4-5CB0E93FAB76}" destId="{B22088F7-0255-433F-8811-6E7C095A471A}" srcOrd="30" destOrd="0" presId="urn:microsoft.com/office/officeart/2008/layout/LinedList"/>
    <dgm:cxn modelId="{4AEA5F2C-9251-4FF5-995F-FE81357EA734}" type="presParOf" srcId="{31BCD210-338C-448F-BBA4-5CB0E93FAB76}" destId="{0361A772-926B-489F-A996-C9609154420F}" srcOrd="31" destOrd="0" presId="urn:microsoft.com/office/officeart/2008/layout/LinedList"/>
    <dgm:cxn modelId="{B5C25270-7112-485D-9BF0-C7F2C717C452}" type="presParOf" srcId="{0361A772-926B-489F-A996-C9609154420F}" destId="{F0AE170B-AEB0-44E0-AF77-4D707B1D9D10}" srcOrd="0" destOrd="0" presId="urn:microsoft.com/office/officeart/2008/layout/LinedList"/>
    <dgm:cxn modelId="{D6CB4BD9-20D2-4253-912D-838B678BF9C9}" type="presParOf" srcId="{0361A772-926B-489F-A996-C9609154420F}" destId="{C86F2C1B-2D3B-4879-AE9F-213C70FCB66F}" srcOrd="1" destOrd="0" presId="urn:microsoft.com/office/officeart/2008/layout/LinedList"/>
    <dgm:cxn modelId="{6A8613BA-B789-49BA-843E-CC60B9D75343}" type="presParOf" srcId="{0361A772-926B-489F-A996-C9609154420F}" destId="{BB6C5347-235B-424A-ACC2-4474601A9FF9}" srcOrd="2" destOrd="0" presId="urn:microsoft.com/office/officeart/2008/layout/LinedList"/>
    <dgm:cxn modelId="{881BE8A1-F994-4981-B9CE-43C6DDB68B0E}" type="presParOf" srcId="{31BCD210-338C-448F-BBA4-5CB0E93FAB76}" destId="{E3DDFE8F-7B87-4A81-B86A-A773EED95464}" srcOrd="32" destOrd="0" presId="urn:microsoft.com/office/officeart/2008/layout/LinedList"/>
    <dgm:cxn modelId="{1AA3E503-5315-450C-9EC0-ADE7E08FDF31}" type="presParOf" srcId="{31BCD210-338C-448F-BBA4-5CB0E93FAB76}" destId="{32911EC1-6098-4A89-87F3-456466E0338C}" srcOrd="33" destOrd="0" presId="urn:microsoft.com/office/officeart/2008/layout/LinedList"/>
    <dgm:cxn modelId="{C9BEBDFA-1BB1-49D6-97C3-3C1FC972F901}" type="presParOf" srcId="{31BCD210-338C-448F-BBA4-5CB0E93FAB76}" destId="{D9E5B1CA-A00E-4DA7-9F4B-1A03262B9A5B}" srcOrd="34" destOrd="0" presId="urn:microsoft.com/office/officeart/2008/layout/LinedList"/>
    <dgm:cxn modelId="{EDE86C42-5E78-47FF-BF99-3257464A6800}" type="presParOf" srcId="{D9E5B1CA-A00E-4DA7-9F4B-1A03262B9A5B}" destId="{7DCB0F95-454B-405A-842A-E00B8DF2A6EC}" srcOrd="0" destOrd="0" presId="urn:microsoft.com/office/officeart/2008/layout/LinedList"/>
    <dgm:cxn modelId="{DEEF5285-03DD-440D-9F5E-1E4B315EE483}" type="presParOf" srcId="{D9E5B1CA-A00E-4DA7-9F4B-1A03262B9A5B}" destId="{0E4E4016-7E8C-408B-A686-A8E1BCD4506D}" srcOrd="1" destOrd="0" presId="urn:microsoft.com/office/officeart/2008/layout/LinedList"/>
    <dgm:cxn modelId="{B81A657B-3BF0-4F83-BF3A-C8D2EE37B264}" type="presParOf" srcId="{D9E5B1CA-A00E-4DA7-9F4B-1A03262B9A5B}" destId="{8E19583A-440A-4D6E-A8A2-41FD21E8485D}" srcOrd="2" destOrd="0" presId="urn:microsoft.com/office/officeart/2008/layout/LinedList"/>
    <dgm:cxn modelId="{8101EAE8-3155-490A-BF74-6FB9CD65A2EE}" type="presParOf" srcId="{31BCD210-338C-448F-BBA4-5CB0E93FAB76}" destId="{45EE0D7F-6306-4B79-BAF5-563F5CBC8B64}" srcOrd="35" destOrd="0" presId="urn:microsoft.com/office/officeart/2008/layout/LinedList"/>
    <dgm:cxn modelId="{ED5BEFEF-3416-4AFF-8581-CB9AF6425A9E}" type="presParOf" srcId="{31BCD210-338C-448F-BBA4-5CB0E93FAB76}" destId="{04654A8D-5C8E-4512-B571-E897F90DA7E0}" srcOrd="36" destOrd="0" presId="urn:microsoft.com/office/officeart/2008/layout/LinedList"/>
    <dgm:cxn modelId="{3E8AE3D7-EEE2-4CD2-99C7-420DA7F7E498}" type="presParOf" srcId="{31BCD210-338C-448F-BBA4-5CB0E93FAB76}" destId="{8437384F-0A5F-446B-9021-A85A33249FB8}" srcOrd="37" destOrd="0" presId="urn:microsoft.com/office/officeart/2008/layout/LinedList"/>
    <dgm:cxn modelId="{B5BCA2F2-D069-4EFF-A2A7-93F1776AE360}" type="presParOf" srcId="{8437384F-0A5F-446B-9021-A85A33249FB8}" destId="{5EF1AFDA-2430-46B0-B4ED-905D500A3663}" srcOrd="0" destOrd="0" presId="urn:microsoft.com/office/officeart/2008/layout/LinedList"/>
    <dgm:cxn modelId="{22357B46-FC47-4316-A5D4-63DBA41A096B}" type="presParOf" srcId="{8437384F-0A5F-446B-9021-A85A33249FB8}" destId="{B42C7542-EC28-4D81-8500-63D2F65BF284}" srcOrd="1" destOrd="0" presId="urn:microsoft.com/office/officeart/2008/layout/LinedList"/>
    <dgm:cxn modelId="{06738BB9-2D60-4FC2-87F7-60BF60B55118}" type="presParOf" srcId="{8437384F-0A5F-446B-9021-A85A33249FB8}" destId="{0AFB59DC-A2F1-40B8-9F04-0D5AAA1DB7F2}" srcOrd="2" destOrd="0" presId="urn:microsoft.com/office/officeart/2008/layout/LinedList"/>
    <dgm:cxn modelId="{185BD9DF-F1E5-492B-9199-8017CBFBF15F}" type="presParOf" srcId="{31BCD210-338C-448F-BBA4-5CB0E93FAB76}" destId="{8D22B8BA-B4A0-4183-B08F-28001A2B6636}" srcOrd="38" destOrd="0" presId="urn:microsoft.com/office/officeart/2008/layout/LinedList"/>
    <dgm:cxn modelId="{44ADBAE9-FF85-4078-AAB1-365E0A845269}" type="presParOf" srcId="{31BCD210-338C-448F-BBA4-5CB0E93FAB76}" destId="{6F242872-5467-4C65-AE61-D64FF48A5707}" srcOrd="39" destOrd="0" presId="urn:microsoft.com/office/officeart/2008/layout/LinedList"/>
    <dgm:cxn modelId="{B0905D7B-53C7-4AA3-A72A-6E74DD27A973}" type="presParOf" srcId="{31BCD210-338C-448F-BBA4-5CB0E93FAB76}" destId="{CB7E1EB3-28FB-414B-9864-0B86E1B69C23}" srcOrd="40" destOrd="0" presId="urn:microsoft.com/office/officeart/2008/layout/LinedList"/>
    <dgm:cxn modelId="{EA6E1384-20AB-4F4F-90D5-AE9808DD539D}" type="presParOf" srcId="{CB7E1EB3-28FB-414B-9864-0B86E1B69C23}" destId="{5A9188A4-2A62-4B47-A740-7663528D6FE7}" srcOrd="0" destOrd="0" presId="urn:microsoft.com/office/officeart/2008/layout/LinedList"/>
    <dgm:cxn modelId="{5715232F-3308-49C8-9935-1806B372807F}" type="presParOf" srcId="{CB7E1EB3-28FB-414B-9864-0B86E1B69C23}" destId="{DB64D356-55DD-4D54-8146-C37FFE150EEA}" srcOrd="1" destOrd="0" presId="urn:microsoft.com/office/officeart/2008/layout/LinedList"/>
    <dgm:cxn modelId="{06345892-A8FB-4086-8B17-C168F8091319}" type="presParOf" srcId="{CB7E1EB3-28FB-414B-9864-0B86E1B69C23}" destId="{C93EF402-E55E-48CA-9305-993459FADA69}" srcOrd="2" destOrd="0" presId="urn:microsoft.com/office/officeart/2008/layout/LinedList"/>
    <dgm:cxn modelId="{01DCF1B8-895B-466C-9B6B-9A7A7234FFC2}" type="presParOf" srcId="{31BCD210-338C-448F-BBA4-5CB0E93FAB76}" destId="{0188A1DD-8A12-4846-825B-A9BD80E610E9}" srcOrd="41" destOrd="0" presId="urn:microsoft.com/office/officeart/2008/layout/LinedList"/>
    <dgm:cxn modelId="{D5DCF68F-FE64-467C-AE02-4973CEF10029}" type="presParOf" srcId="{31BCD210-338C-448F-BBA4-5CB0E93FAB76}" destId="{FF08BA36-B119-4499-BEF6-AF84A0A5824B}" srcOrd="42" destOrd="0" presId="urn:microsoft.com/office/officeart/2008/layout/LinedList"/>
    <dgm:cxn modelId="{9000D2BD-9ACB-4E0C-9378-D91D3FDD90A5}" type="presParOf" srcId="{31BCD210-338C-448F-BBA4-5CB0E93FAB76}" destId="{AC0238CA-68E6-458A-BE52-08129F6BDC69}" srcOrd="43" destOrd="0" presId="urn:microsoft.com/office/officeart/2008/layout/LinedList"/>
    <dgm:cxn modelId="{F77B9502-20ED-4A56-BD38-7733EED6F6EB}" type="presParOf" srcId="{AC0238CA-68E6-458A-BE52-08129F6BDC69}" destId="{251B40F5-7C08-4986-B4C2-C2F54A128E2B}" srcOrd="0" destOrd="0" presId="urn:microsoft.com/office/officeart/2008/layout/LinedList"/>
    <dgm:cxn modelId="{B052D8C4-C53C-4B66-B7A2-0C27FCCFF0B9}" type="presParOf" srcId="{AC0238CA-68E6-458A-BE52-08129F6BDC69}" destId="{65E09B91-D9B3-4395-B3DA-2F44B903E33D}" srcOrd="1" destOrd="0" presId="urn:microsoft.com/office/officeart/2008/layout/LinedList"/>
    <dgm:cxn modelId="{DCCBC2DE-54A1-45D0-8716-FB948150AE56}" type="presParOf" srcId="{AC0238CA-68E6-458A-BE52-08129F6BDC69}" destId="{64FE0328-7ECE-4A41-81FD-92BA09EE0944}" srcOrd="2" destOrd="0" presId="urn:microsoft.com/office/officeart/2008/layout/LinedList"/>
    <dgm:cxn modelId="{4C042B9A-AEB0-4E72-92DF-0B26C9EC1C11}" type="presParOf" srcId="{31BCD210-338C-448F-BBA4-5CB0E93FAB76}" destId="{CECF0841-54CE-4DFB-95E8-C87BA9CBD1EB}" srcOrd="44" destOrd="0" presId="urn:microsoft.com/office/officeart/2008/layout/LinedList"/>
    <dgm:cxn modelId="{07D5872A-C28B-4B79-86EC-756EF5636CCC}" type="presParOf" srcId="{31BCD210-338C-448F-BBA4-5CB0E93FAB76}" destId="{9EFC3F19-E639-423B-92DB-1EB36788E551}" srcOrd="45" destOrd="0" presId="urn:microsoft.com/office/officeart/2008/layout/LinedList"/>
    <dgm:cxn modelId="{66EB6931-A5C3-42DB-A15D-DF5AA356D87D}" type="presParOf" srcId="{31BCD210-338C-448F-BBA4-5CB0E93FAB76}" destId="{8AD04E3A-F569-4DC0-A756-5EA2DE565310}" srcOrd="46" destOrd="0" presId="urn:microsoft.com/office/officeart/2008/layout/LinedList"/>
    <dgm:cxn modelId="{23475707-F513-454E-A4AB-9D33AEAA6776}" type="presParOf" srcId="{8AD04E3A-F569-4DC0-A756-5EA2DE565310}" destId="{6E3FCD69-3B7E-42C3-A1FD-DBECCEBB1C6E}" srcOrd="0" destOrd="0" presId="urn:microsoft.com/office/officeart/2008/layout/LinedList"/>
    <dgm:cxn modelId="{F42240F0-9428-44FB-B9BF-71756DBA9797}" type="presParOf" srcId="{8AD04E3A-F569-4DC0-A756-5EA2DE565310}" destId="{2D35330D-E0B5-4D0E-8A8B-25B4E6666D46}" srcOrd="1" destOrd="0" presId="urn:microsoft.com/office/officeart/2008/layout/LinedList"/>
    <dgm:cxn modelId="{1D4AAE6C-238C-488A-9D31-F54BF590D7FF}" type="presParOf" srcId="{8AD04E3A-F569-4DC0-A756-5EA2DE565310}" destId="{FD9E9281-2B4E-4A69-B276-9BDAA7B57C1C}" srcOrd="2" destOrd="0" presId="urn:microsoft.com/office/officeart/2008/layout/LinedList"/>
    <dgm:cxn modelId="{1FF52B98-1B68-4791-AC4B-4BE3D9150B19}" type="presParOf" srcId="{31BCD210-338C-448F-BBA4-5CB0E93FAB76}" destId="{E34AA8E0-28F4-4AD9-A916-75294B6038A1}" srcOrd="47" destOrd="0" presId="urn:microsoft.com/office/officeart/2008/layout/LinedList"/>
    <dgm:cxn modelId="{CC980DF4-E130-4BC5-8829-C4938845069C}" type="presParOf" srcId="{31BCD210-338C-448F-BBA4-5CB0E93FAB76}" destId="{FA6F3BD3-B07D-4554-BF0C-35BAA818B0C8}" srcOrd="4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E901FF8-BBAF-4AFA-B2A8-32B38AFCBAF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91D07A-D824-4519-B860-1993164DF9FD}">
      <dgm:prSet phldrT="[Text]"/>
      <dgm:spPr/>
      <dgm:t>
        <a:bodyPr/>
        <a:lstStyle/>
        <a:p>
          <a:r>
            <a:rPr lang="en-US"/>
            <a:t>Data Types Supported</a:t>
          </a:r>
        </a:p>
      </dgm:t>
    </dgm:pt>
    <dgm:pt modelId="{C9F516F4-2446-4927-AF2B-12B625353D62}" type="parTrans" cxnId="{0057E69E-9140-45C3-AB0C-064E71A5934C}">
      <dgm:prSet/>
      <dgm:spPr/>
      <dgm:t>
        <a:bodyPr/>
        <a:lstStyle/>
        <a:p>
          <a:endParaRPr lang="en-US"/>
        </a:p>
      </dgm:t>
    </dgm:pt>
    <dgm:pt modelId="{DAFCEB3B-F022-4C90-B99C-222CAF5FD197}" type="sibTrans" cxnId="{0057E69E-9140-45C3-AB0C-064E71A5934C}">
      <dgm:prSet/>
      <dgm:spPr/>
      <dgm:t>
        <a:bodyPr/>
        <a:lstStyle/>
        <a:p>
          <a:endParaRPr lang="en-US"/>
        </a:p>
      </dgm:t>
    </dgm:pt>
    <dgm:pt modelId="{70561FBF-3944-43E0-A0B0-9A9BA87045F7}">
      <dgm:prSet phldrT="[Text]"/>
      <dgm:spPr/>
      <dgm:t>
        <a:bodyPr/>
        <a:lstStyle/>
        <a:p>
          <a:r>
            <a:rPr lang="en-US"/>
            <a:t>Boolean</a:t>
          </a:r>
        </a:p>
      </dgm:t>
    </dgm:pt>
    <dgm:pt modelId="{21C3F7E5-13D0-49E4-A271-DB287BF43E37}" type="parTrans" cxnId="{988F6A7E-58B5-46C1-9BB5-C01DA9F22F37}">
      <dgm:prSet/>
      <dgm:spPr/>
      <dgm:t>
        <a:bodyPr/>
        <a:lstStyle/>
        <a:p>
          <a:endParaRPr lang="en-US"/>
        </a:p>
      </dgm:t>
    </dgm:pt>
    <dgm:pt modelId="{5378406E-F6DB-4AB7-AB8E-D1C73A07C5D4}" type="sibTrans" cxnId="{988F6A7E-58B5-46C1-9BB5-C01DA9F22F37}">
      <dgm:prSet/>
      <dgm:spPr/>
      <dgm:t>
        <a:bodyPr/>
        <a:lstStyle/>
        <a:p>
          <a:endParaRPr lang="en-US"/>
        </a:p>
      </dgm:t>
    </dgm:pt>
    <dgm:pt modelId="{1170F71F-A361-4BB3-B82F-7CA44FB94FCA}">
      <dgm:prSet phldrT="[Text]"/>
      <dgm:spPr/>
      <dgm:t>
        <a:bodyPr/>
        <a:lstStyle/>
        <a:p>
          <a:r>
            <a:rPr lang="en-US"/>
            <a:t>Integer</a:t>
          </a:r>
        </a:p>
      </dgm:t>
    </dgm:pt>
    <dgm:pt modelId="{7C8A726E-177C-4D74-8615-DB7E0C028D7D}" type="parTrans" cxnId="{DA9F9C03-D721-4923-90A1-6542F8EFE3CD}">
      <dgm:prSet/>
      <dgm:spPr/>
      <dgm:t>
        <a:bodyPr/>
        <a:lstStyle/>
        <a:p>
          <a:endParaRPr lang="en-US"/>
        </a:p>
      </dgm:t>
    </dgm:pt>
    <dgm:pt modelId="{9D7531FA-DE5C-4F53-83FF-647CC27E4B8F}" type="sibTrans" cxnId="{DA9F9C03-D721-4923-90A1-6542F8EFE3CD}">
      <dgm:prSet/>
      <dgm:spPr/>
      <dgm:t>
        <a:bodyPr/>
        <a:lstStyle/>
        <a:p>
          <a:endParaRPr lang="en-US"/>
        </a:p>
      </dgm:t>
    </dgm:pt>
    <dgm:pt modelId="{CCE02ACB-B8FF-443D-98CC-901DBB19C3DE}">
      <dgm:prSet phldrT="[Text]"/>
      <dgm:spPr/>
      <dgm:t>
        <a:bodyPr/>
        <a:lstStyle/>
        <a:p>
          <a:r>
            <a:rPr lang="en-US"/>
            <a:t>Long</a:t>
          </a:r>
        </a:p>
      </dgm:t>
    </dgm:pt>
    <dgm:pt modelId="{A2FADE22-5189-4383-931F-216E4BD3FDCB}" type="parTrans" cxnId="{F1B458DD-4A9C-4186-BD3E-D987D3972F0B}">
      <dgm:prSet/>
      <dgm:spPr/>
      <dgm:t>
        <a:bodyPr/>
        <a:lstStyle/>
        <a:p>
          <a:endParaRPr lang="en-US"/>
        </a:p>
      </dgm:t>
    </dgm:pt>
    <dgm:pt modelId="{96B2FF3D-2F1B-42ED-923D-6DADAD1E00F7}" type="sibTrans" cxnId="{F1B458DD-4A9C-4186-BD3E-D987D3972F0B}">
      <dgm:prSet/>
      <dgm:spPr/>
      <dgm:t>
        <a:bodyPr/>
        <a:lstStyle/>
        <a:p>
          <a:endParaRPr lang="en-US"/>
        </a:p>
      </dgm:t>
    </dgm:pt>
    <dgm:pt modelId="{1295AEC3-460A-4F55-B05C-D74E03BD4D4A}">
      <dgm:prSet phldrT="[Text]"/>
      <dgm:spPr/>
      <dgm:t>
        <a:bodyPr/>
        <a:lstStyle/>
        <a:p>
          <a:r>
            <a:rPr lang="en-US"/>
            <a:t>Float</a:t>
          </a:r>
        </a:p>
      </dgm:t>
    </dgm:pt>
    <dgm:pt modelId="{4879C8C3-D7A0-4721-9D4A-395F05F70656}" type="parTrans" cxnId="{52A99C22-95A8-4DDC-B86D-95E594F470D9}">
      <dgm:prSet/>
      <dgm:spPr/>
      <dgm:t>
        <a:bodyPr/>
        <a:lstStyle/>
        <a:p>
          <a:endParaRPr lang="en-US"/>
        </a:p>
      </dgm:t>
    </dgm:pt>
    <dgm:pt modelId="{1CA3FFDF-AB28-4508-8619-F8F11F73BF84}" type="sibTrans" cxnId="{52A99C22-95A8-4DDC-B86D-95E594F470D9}">
      <dgm:prSet/>
      <dgm:spPr/>
      <dgm:t>
        <a:bodyPr/>
        <a:lstStyle/>
        <a:p>
          <a:endParaRPr lang="en-US"/>
        </a:p>
      </dgm:t>
    </dgm:pt>
    <dgm:pt modelId="{2EF32E95-78E1-4455-A301-B7A884A9CA01}" type="pres">
      <dgm:prSet presAssocID="{BE901FF8-BBAF-4AFA-B2A8-32B38AFCBAFE}" presName="vert0" presStyleCnt="0">
        <dgm:presLayoutVars>
          <dgm:dir/>
          <dgm:animOne val="branch"/>
          <dgm:animLvl val="lvl"/>
        </dgm:presLayoutVars>
      </dgm:prSet>
      <dgm:spPr/>
    </dgm:pt>
    <dgm:pt modelId="{C4C13ED3-D3A0-4315-9D5D-85BABA27B016}" type="pres">
      <dgm:prSet presAssocID="{3591D07A-D824-4519-B860-1993164DF9FD}" presName="thickLine" presStyleLbl="alignNode1" presStyleIdx="0" presStyleCnt="1"/>
      <dgm:spPr/>
    </dgm:pt>
    <dgm:pt modelId="{3E331361-FBB8-4064-BD56-1C16DE00E9D4}" type="pres">
      <dgm:prSet presAssocID="{3591D07A-D824-4519-B860-1993164DF9FD}" presName="horz1" presStyleCnt="0"/>
      <dgm:spPr/>
    </dgm:pt>
    <dgm:pt modelId="{1EA71D56-85DF-4D54-9B21-A3D3F455259B}" type="pres">
      <dgm:prSet presAssocID="{3591D07A-D824-4519-B860-1993164DF9FD}" presName="tx1" presStyleLbl="revTx" presStyleIdx="0" presStyleCnt="5"/>
      <dgm:spPr/>
    </dgm:pt>
    <dgm:pt modelId="{81581667-0701-47F0-847E-EE4DD183EAB0}" type="pres">
      <dgm:prSet presAssocID="{3591D07A-D824-4519-B860-1993164DF9FD}" presName="vert1" presStyleCnt="0"/>
      <dgm:spPr/>
    </dgm:pt>
    <dgm:pt modelId="{F903D8B1-69F0-428F-84EB-6B5A816B651A}" type="pres">
      <dgm:prSet presAssocID="{70561FBF-3944-43E0-A0B0-9A9BA87045F7}" presName="vertSpace2a" presStyleCnt="0"/>
      <dgm:spPr/>
    </dgm:pt>
    <dgm:pt modelId="{CB207C62-72D1-451E-8386-D8D564CA17AE}" type="pres">
      <dgm:prSet presAssocID="{70561FBF-3944-43E0-A0B0-9A9BA87045F7}" presName="horz2" presStyleCnt="0"/>
      <dgm:spPr/>
    </dgm:pt>
    <dgm:pt modelId="{BF3829F1-CF72-409F-A77E-0040B4F43822}" type="pres">
      <dgm:prSet presAssocID="{70561FBF-3944-43E0-A0B0-9A9BA87045F7}" presName="horzSpace2" presStyleCnt="0"/>
      <dgm:spPr/>
    </dgm:pt>
    <dgm:pt modelId="{F74AB7C3-C0CE-42A8-ADCD-E354E108D765}" type="pres">
      <dgm:prSet presAssocID="{70561FBF-3944-43E0-A0B0-9A9BA87045F7}" presName="tx2" presStyleLbl="revTx" presStyleIdx="1" presStyleCnt="5"/>
      <dgm:spPr>
        <a:prstGeom prst="borderCallout2">
          <a:avLst/>
        </a:prstGeom>
      </dgm:spPr>
    </dgm:pt>
    <dgm:pt modelId="{673ECEB4-DF66-471E-B8AB-AD62507899D6}" type="pres">
      <dgm:prSet presAssocID="{70561FBF-3944-43E0-A0B0-9A9BA87045F7}" presName="vert2" presStyleCnt="0"/>
      <dgm:spPr/>
    </dgm:pt>
    <dgm:pt modelId="{169FBE19-E715-439E-AEA0-F69EAD6D0374}" type="pres">
      <dgm:prSet presAssocID="{70561FBF-3944-43E0-A0B0-9A9BA87045F7}" presName="thinLine2b" presStyleLbl="callout" presStyleIdx="0" presStyleCnt="4"/>
      <dgm:spPr/>
    </dgm:pt>
    <dgm:pt modelId="{2D8BFC06-7D80-4FC8-B7B1-BF8FFF53707E}" type="pres">
      <dgm:prSet presAssocID="{70561FBF-3944-43E0-A0B0-9A9BA87045F7}" presName="vertSpace2b" presStyleCnt="0"/>
      <dgm:spPr/>
    </dgm:pt>
    <dgm:pt modelId="{A96CE797-A639-4F1E-928C-481D53B7AE3F}" type="pres">
      <dgm:prSet presAssocID="{1170F71F-A361-4BB3-B82F-7CA44FB94FCA}" presName="horz2" presStyleCnt="0"/>
      <dgm:spPr/>
    </dgm:pt>
    <dgm:pt modelId="{E9323B10-6D09-4269-A201-655FFA573980}" type="pres">
      <dgm:prSet presAssocID="{1170F71F-A361-4BB3-B82F-7CA44FB94FCA}" presName="horzSpace2" presStyleCnt="0"/>
      <dgm:spPr/>
    </dgm:pt>
    <dgm:pt modelId="{4A98FA18-6FD4-4F43-8879-7E667836F0B2}" type="pres">
      <dgm:prSet presAssocID="{1170F71F-A361-4BB3-B82F-7CA44FB94FCA}" presName="tx2" presStyleLbl="revTx" presStyleIdx="2" presStyleCnt="5"/>
      <dgm:spPr/>
    </dgm:pt>
    <dgm:pt modelId="{06BFCF40-0714-4EF7-93B7-0079E195E258}" type="pres">
      <dgm:prSet presAssocID="{1170F71F-A361-4BB3-B82F-7CA44FB94FCA}" presName="vert2" presStyleCnt="0"/>
      <dgm:spPr/>
    </dgm:pt>
    <dgm:pt modelId="{18BC2190-48FF-48B9-9C3F-5331CFE4C0E1}" type="pres">
      <dgm:prSet presAssocID="{1170F71F-A361-4BB3-B82F-7CA44FB94FCA}" presName="thinLine2b" presStyleLbl="callout" presStyleIdx="1" presStyleCnt="4"/>
      <dgm:spPr/>
    </dgm:pt>
    <dgm:pt modelId="{8FD45DEC-721B-4C9B-A5DC-6DA847227029}" type="pres">
      <dgm:prSet presAssocID="{1170F71F-A361-4BB3-B82F-7CA44FB94FCA}" presName="vertSpace2b" presStyleCnt="0"/>
      <dgm:spPr/>
    </dgm:pt>
    <dgm:pt modelId="{E5D55C69-18FF-4006-85FC-E96CA286270D}" type="pres">
      <dgm:prSet presAssocID="{1295AEC3-460A-4F55-B05C-D74E03BD4D4A}" presName="horz2" presStyleCnt="0"/>
      <dgm:spPr/>
    </dgm:pt>
    <dgm:pt modelId="{C71DDA7A-95DE-43D3-AFDD-51142F31C09F}" type="pres">
      <dgm:prSet presAssocID="{1295AEC3-460A-4F55-B05C-D74E03BD4D4A}" presName="horzSpace2" presStyleCnt="0"/>
      <dgm:spPr/>
    </dgm:pt>
    <dgm:pt modelId="{78ED0FCB-A21F-4819-891A-27814A2F2B73}" type="pres">
      <dgm:prSet presAssocID="{1295AEC3-460A-4F55-B05C-D74E03BD4D4A}" presName="tx2" presStyleLbl="revTx" presStyleIdx="3" presStyleCnt="5"/>
      <dgm:spPr/>
    </dgm:pt>
    <dgm:pt modelId="{6F5BC1ED-1BF1-4BCA-9A50-E3901C9BEACE}" type="pres">
      <dgm:prSet presAssocID="{1295AEC3-460A-4F55-B05C-D74E03BD4D4A}" presName="vert2" presStyleCnt="0"/>
      <dgm:spPr/>
    </dgm:pt>
    <dgm:pt modelId="{F0EBC1F2-5A41-4D12-9455-7A5C54330513}" type="pres">
      <dgm:prSet presAssocID="{1295AEC3-460A-4F55-B05C-D74E03BD4D4A}" presName="thinLine2b" presStyleLbl="callout" presStyleIdx="2" presStyleCnt="4"/>
      <dgm:spPr/>
    </dgm:pt>
    <dgm:pt modelId="{94DC5FAF-BD5F-4940-BBC0-71C9B9E22E23}" type="pres">
      <dgm:prSet presAssocID="{1295AEC3-460A-4F55-B05C-D74E03BD4D4A}" presName="vertSpace2b" presStyleCnt="0"/>
      <dgm:spPr/>
    </dgm:pt>
    <dgm:pt modelId="{EFD56F45-4774-4B05-9611-1DAE7317A1F2}" type="pres">
      <dgm:prSet presAssocID="{CCE02ACB-B8FF-443D-98CC-901DBB19C3DE}" presName="horz2" presStyleCnt="0"/>
      <dgm:spPr/>
    </dgm:pt>
    <dgm:pt modelId="{E5F60BF8-37CC-4C6C-8744-68781A5AF260}" type="pres">
      <dgm:prSet presAssocID="{CCE02ACB-B8FF-443D-98CC-901DBB19C3DE}" presName="horzSpace2" presStyleCnt="0"/>
      <dgm:spPr/>
    </dgm:pt>
    <dgm:pt modelId="{AAD6F35A-ED80-46BA-A77B-3FB906F59183}" type="pres">
      <dgm:prSet presAssocID="{CCE02ACB-B8FF-443D-98CC-901DBB19C3DE}" presName="tx2" presStyleLbl="revTx" presStyleIdx="4" presStyleCnt="5"/>
      <dgm:spPr/>
    </dgm:pt>
    <dgm:pt modelId="{EFBB13B6-B3FF-4F11-8233-4032D576033A}" type="pres">
      <dgm:prSet presAssocID="{CCE02ACB-B8FF-443D-98CC-901DBB19C3DE}" presName="vert2" presStyleCnt="0"/>
      <dgm:spPr/>
    </dgm:pt>
    <dgm:pt modelId="{449DB954-DAAE-429F-84F9-21EB5265CA96}" type="pres">
      <dgm:prSet presAssocID="{CCE02ACB-B8FF-443D-98CC-901DBB19C3DE}" presName="thinLine2b" presStyleLbl="callout" presStyleIdx="3" presStyleCnt="4"/>
      <dgm:spPr/>
    </dgm:pt>
    <dgm:pt modelId="{9E53F462-51BC-4BD8-B0E4-22D8C9B74FC8}" type="pres">
      <dgm:prSet presAssocID="{CCE02ACB-B8FF-443D-98CC-901DBB19C3DE}" presName="vertSpace2b" presStyleCnt="0"/>
      <dgm:spPr/>
    </dgm:pt>
  </dgm:ptLst>
  <dgm:cxnLst>
    <dgm:cxn modelId="{DA9F9C03-D721-4923-90A1-6542F8EFE3CD}" srcId="{3591D07A-D824-4519-B860-1993164DF9FD}" destId="{1170F71F-A361-4BB3-B82F-7CA44FB94FCA}" srcOrd="1" destOrd="0" parTransId="{7C8A726E-177C-4D74-8615-DB7E0C028D7D}" sibTransId="{9D7531FA-DE5C-4F53-83FF-647CC27E4B8F}"/>
    <dgm:cxn modelId="{86B05C08-0380-44DD-BC19-B566B3F71EAA}" type="presOf" srcId="{CCE02ACB-B8FF-443D-98CC-901DBB19C3DE}" destId="{AAD6F35A-ED80-46BA-A77B-3FB906F59183}" srcOrd="0" destOrd="0" presId="urn:microsoft.com/office/officeart/2008/layout/LinedList"/>
    <dgm:cxn modelId="{52A99C22-95A8-4DDC-B86D-95E594F470D9}" srcId="{3591D07A-D824-4519-B860-1993164DF9FD}" destId="{1295AEC3-460A-4F55-B05C-D74E03BD4D4A}" srcOrd="2" destOrd="0" parTransId="{4879C8C3-D7A0-4721-9D4A-395F05F70656}" sibTransId="{1CA3FFDF-AB28-4508-8619-F8F11F73BF84}"/>
    <dgm:cxn modelId="{4D21BA2D-4870-4013-9FE7-390DDD0D8DB3}" type="presOf" srcId="{BE901FF8-BBAF-4AFA-B2A8-32B38AFCBAFE}" destId="{2EF32E95-78E1-4455-A301-B7A884A9CA01}" srcOrd="0" destOrd="0" presId="urn:microsoft.com/office/officeart/2008/layout/LinedList"/>
    <dgm:cxn modelId="{EDED8156-213F-46B7-9F03-5EB82AB46D5B}" type="presOf" srcId="{70561FBF-3944-43E0-A0B0-9A9BA87045F7}" destId="{F74AB7C3-C0CE-42A8-ADCD-E354E108D765}" srcOrd="0" destOrd="0" presId="urn:microsoft.com/office/officeart/2008/layout/LinedList"/>
    <dgm:cxn modelId="{988F6A7E-58B5-46C1-9BB5-C01DA9F22F37}" srcId="{3591D07A-D824-4519-B860-1993164DF9FD}" destId="{70561FBF-3944-43E0-A0B0-9A9BA87045F7}" srcOrd="0" destOrd="0" parTransId="{21C3F7E5-13D0-49E4-A271-DB287BF43E37}" sibTransId="{5378406E-F6DB-4AB7-AB8E-D1C73A07C5D4}"/>
    <dgm:cxn modelId="{0057E69E-9140-45C3-AB0C-064E71A5934C}" srcId="{BE901FF8-BBAF-4AFA-B2A8-32B38AFCBAFE}" destId="{3591D07A-D824-4519-B860-1993164DF9FD}" srcOrd="0" destOrd="0" parTransId="{C9F516F4-2446-4927-AF2B-12B625353D62}" sibTransId="{DAFCEB3B-F022-4C90-B99C-222CAF5FD197}"/>
    <dgm:cxn modelId="{6DD5B5B7-91BE-4F0C-A0C8-5F78B93D1E6B}" type="presOf" srcId="{3591D07A-D824-4519-B860-1993164DF9FD}" destId="{1EA71D56-85DF-4D54-9B21-A3D3F455259B}" srcOrd="0" destOrd="0" presId="urn:microsoft.com/office/officeart/2008/layout/LinedList"/>
    <dgm:cxn modelId="{DADD8EBD-D38A-4E88-A5DD-5E9ECCD5C842}" type="presOf" srcId="{1295AEC3-460A-4F55-B05C-D74E03BD4D4A}" destId="{78ED0FCB-A21F-4819-891A-27814A2F2B73}" srcOrd="0" destOrd="0" presId="urn:microsoft.com/office/officeart/2008/layout/LinedList"/>
    <dgm:cxn modelId="{F1B458DD-4A9C-4186-BD3E-D987D3972F0B}" srcId="{3591D07A-D824-4519-B860-1993164DF9FD}" destId="{CCE02ACB-B8FF-443D-98CC-901DBB19C3DE}" srcOrd="3" destOrd="0" parTransId="{A2FADE22-5189-4383-931F-216E4BD3FDCB}" sibTransId="{96B2FF3D-2F1B-42ED-923D-6DADAD1E00F7}"/>
    <dgm:cxn modelId="{460469E7-D81E-408F-A7D0-ECAEFA28F21E}" type="presOf" srcId="{1170F71F-A361-4BB3-B82F-7CA44FB94FCA}" destId="{4A98FA18-6FD4-4F43-8879-7E667836F0B2}" srcOrd="0" destOrd="0" presId="urn:microsoft.com/office/officeart/2008/layout/LinedList"/>
    <dgm:cxn modelId="{FF0D3D27-29AF-4ACB-BAFC-F19CE06C9E78}" type="presParOf" srcId="{2EF32E95-78E1-4455-A301-B7A884A9CA01}" destId="{C4C13ED3-D3A0-4315-9D5D-85BABA27B016}" srcOrd="0" destOrd="0" presId="urn:microsoft.com/office/officeart/2008/layout/LinedList"/>
    <dgm:cxn modelId="{5F3EC65F-C9F9-44E2-8128-28B548EBC47E}" type="presParOf" srcId="{2EF32E95-78E1-4455-A301-B7A884A9CA01}" destId="{3E331361-FBB8-4064-BD56-1C16DE00E9D4}" srcOrd="1" destOrd="0" presId="urn:microsoft.com/office/officeart/2008/layout/LinedList"/>
    <dgm:cxn modelId="{F5D4D536-1041-4215-A4A1-268C493E4FDB}" type="presParOf" srcId="{3E331361-FBB8-4064-BD56-1C16DE00E9D4}" destId="{1EA71D56-85DF-4D54-9B21-A3D3F455259B}" srcOrd="0" destOrd="0" presId="urn:microsoft.com/office/officeart/2008/layout/LinedList"/>
    <dgm:cxn modelId="{F773ACFC-75DE-4D6C-8E5D-D9E85B6139A7}" type="presParOf" srcId="{3E331361-FBB8-4064-BD56-1C16DE00E9D4}" destId="{81581667-0701-47F0-847E-EE4DD183EAB0}" srcOrd="1" destOrd="0" presId="urn:microsoft.com/office/officeart/2008/layout/LinedList"/>
    <dgm:cxn modelId="{12336EBB-0B3D-48A4-961B-2F10A84FB2FF}" type="presParOf" srcId="{81581667-0701-47F0-847E-EE4DD183EAB0}" destId="{F903D8B1-69F0-428F-84EB-6B5A816B651A}" srcOrd="0" destOrd="0" presId="urn:microsoft.com/office/officeart/2008/layout/LinedList"/>
    <dgm:cxn modelId="{1A9604FE-A360-4D87-8388-2C851931A369}" type="presParOf" srcId="{81581667-0701-47F0-847E-EE4DD183EAB0}" destId="{CB207C62-72D1-451E-8386-D8D564CA17AE}" srcOrd="1" destOrd="0" presId="urn:microsoft.com/office/officeart/2008/layout/LinedList"/>
    <dgm:cxn modelId="{A1F9B0C2-059F-4FDF-A877-19FE849CA037}" type="presParOf" srcId="{CB207C62-72D1-451E-8386-D8D564CA17AE}" destId="{BF3829F1-CF72-409F-A77E-0040B4F43822}" srcOrd="0" destOrd="0" presId="urn:microsoft.com/office/officeart/2008/layout/LinedList"/>
    <dgm:cxn modelId="{4BC6DA0B-F722-4019-BD9C-654C0138B014}" type="presParOf" srcId="{CB207C62-72D1-451E-8386-D8D564CA17AE}" destId="{F74AB7C3-C0CE-42A8-ADCD-E354E108D765}" srcOrd="1" destOrd="0" presId="urn:microsoft.com/office/officeart/2008/layout/LinedList"/>
    <dgm:cxn modelId="{F70A7CF3-8D80-40A7-8601-45EC8E0D6250}" type="presParOf" srcId="{CB207C62-72D1-451E-8386-D8D564CA17AE}" destId="{673ECEB4-DF66-471E-B8AB-AD62507899D6}" srcOrd="2" destOrd="0" presId="urn:microsoft.com/office/officeart/2008/layout/LinedList"/>
    <dgm:cxn modelId="{CDEAFCBD-9303-43C8-B885-9A5453A12D79}" type="presParOf" srcId="{81581667-0701-47F0-847E-EE4DD183EAB0}" destId="{169FBE19-E715-439E-AEA0-F69EAD6D0374}" srcOrd="2" destOrd="0" presId="urn:microsoft.com/office/officeart/2008/layout/LinedList"/>
    <dgm:cxn modelId="{8C283436-8FFE-422A-B0FC-37B2BF44224C}" type="presParOf" srcId="{81581667-0701-47F0-847E-EE4DD183EAB0}" destId="{2D8BFC06-7D80-4FC8-B7B1-BF8FFF53707E}" srcOrd="3" destOrd="0" presId="urn:microsoft.com/office/officeart/2008/layout/LinedList"/>
    <dgm:cxn modelId="{7C270E43-F5C1-447E-B610-06F8A8693D27}" type="presParOf" srcId="{81581667-0701-47F0-847E-EE4DD183EAB0}" destId="{A96CE797-A639-4F1E-928C-481D53B7AE3F}" srcOrd="4" destOrd="0" presId="urn:microsoft.com/office/officeart/2008/layout/LinedList"/>
    <dgm:cxn modelId="{1D333D59-C7F7-4F75-8E34-1423937373C3}" type="presParOf" srcId="{A96CE797-A639-4F1E-928C-481D53B7AE3F}" destId="{E9323B10-6D09-4269-A201-655FFA573980}" srcOrd="0" destOrd="0" presId="urn:microsoft.com/office/officeart/2008/layout/LinedList"/>
    <dgm:cxn modelId="{631535D6-C5DF-4369-A4D1-6D83F5BDE8F3}" type="presParOf" srcId="{A96CE797-A639-4F1E-928C-481D53B7AE3F}" destId="{4A98FA18-6FD4-4F43-8879-7E667836F0B2}" srcOrd="1" destOrd="0" presId="urn:microsoft.com/office/officeart/2008/layout/LinedList"/>
    <dgm:cxn modelId="{63D5C00B-656B-4677-AD34-1FA7398EE03E}" type="presParOf" srcId="{A96CE797-A639-4F1E-928C-481D53B7AE3F}" destId="{06BFCF40-0714-4EF7-93B7-0079E195E258}" srcOrd="2" destOrd="0" presId="urn:microsoft.com/office/officeart/2008/layout/LinedList"/>
    <dgm:cxn modelId="{73E7E7C5-20DD-4162-B5CE-704DAA1675CC}" type="presParOf" srcId="{81581667-0701-47F0-847E-EE4DD183EAB0}" destId="{18BC2190-48FF-48B9-9C3F-5331CFE4C0E1}" srcOrd="5" destOrd="0" presId="urn:microsoft.com/office/officeart/2008/layout/LinedList"/>
    <dgm:cxn modelId="{3DC438FF-04AC-4ED1-87F2-2E1AB720BFBC}" type="presParOf" srcId="{81581667-0701-47F0-847E-EE4DD183EAB0}" destId="{8FD45DEC-721B-4C9B-A5DC-6DA847227029}" srcOrd="6" destOrd="0" presId="urn:microsoft.com/office/officeart/2008/layout/LinedList"/>
    <dgm:cxn modelId="{F3BF4148-7188-4FD7-A993-587A88960ED8}" type="presParOf" srcId="{81581667-0701-47F0-847E-EE4DD183EAB0}" destId="{E5D55C69-18FF-4006-85FC-E96CA286270D}" srcOrd="7" destOrd="0" presId="urn:microsoft.com/office/officeart/2008/layout/LinedList"/>
    <dgm:cxn modelId="{66F63014-8BD5-4C35-B6F5-EBAB2417C247}" type="presParOf" srcId="{E5D55C69-18FF-4006-85FC-E96CA286270D}" destId="{C71DDA7A-95DE-43D3-AFDD-51142F31C09F}" srcOrd="0" destOrd="0" presId="urn:microsoft.com/office/officeart/2008/layout/LinedList"/>
    <dgm:cxn modelId="{496FB8FF-92E7-4677-8DAB-14B80CD635B2}" type="presParOf" srcId="{E5D55C69-18FF-4006-85FC-E96CA286270D}" destId="{78ED0FCB-A21F-4819-891A-27814A2F2B73}" srcOrd="1" destOrd="0" presId="urn:microsoft.com/office/officeart/2008/layout/LinedList"/>
    <dgm:cxn modelId="{0B4E99E4-7915-452C-ACFE-A98D8058139D}" type="presParOf" srcId="{E5D55C69-18FF-4006-85FC-E96CA286270D}" destId="{6F5BC1ED-1BF1-4BCA-9A50-E3901C9BEACE}" srcOrd="2" destOrd="0" presId="urn:microsoft.com/office/officeart/2008/layout/LinedList"/>
    <dgm:cxn modelId="{90911821-A754-45B1-A3AC-8B3BD40CED25}" type="presParOf" srcId="{81581667-0701-47F0-847E-EE4DD183EAB0}" destId="{F0EBC1F2-5A41-4D12-9455-7A5C54330513}" srcOrd="8" destOrd="0" presId="urn:microsoft.com/office/officeart/2008/layout/LinedList"/>
    <dgm:cxn modelId="{A69A1E7B-902E-4FDD-9D7F-1F2B4140F2DC}" type="presParOf" srcId="{81581667-0701-47F0-847E-EE4DD183EAB0}" destId="{94DC5FAF-BD5F-4940-BBC0-71C9B9E22E23}" srcOrd="9" destOrd="0" presId="urn:microsoft.com/office/officeart/2008/layout/LinedList"/>
    <dgm:cxn modelId="{9BF64AA3-FE18-4626-9BCB-990DE1B4498C}" type="presParOf" srcId="{81581667-0701-47F0-847E-EE4DD183EAB0}" destId="{EFD56F45-4774-4B05-9611-1DAE7317A1F2}" srcOrd="10" destOrd="0" presId="urn:microsoft.com/office/officeart/2008/layout/LinedList"/>
    <dgm:cxn modelId="{FDD17685-1B37-4A12-85E5-59E59DABB9BC}" type="presParOf" srcId="{EFD56F45-4774-4B05-9611-1DAE7317A1F2}" destId="{E5F60BF8-37CC-4C6C-8744-68781A5AF260}" srcOrd="0" destOrd="0" presId="urn:microsoft.com/office/officeart/2008/layout/LinedList"/>
    <dgm:cxn modelId="{B4F3E83F-2C9C-4706-99D3-FFAA728F554A}" type="presParOf" srcId="{EFD56F45-4774-4B05-9611-1DAE7317A1F2}" destId="{AAD6F35A-ED80-46BA-A77B-3FB906F59183}" srcOrd="1" destOrd="0" presId="urn:microsoft.com/office/officeart/2008/layout/LinedList"/>
    <dgm:cxn modelId="{C8B2B91E-48DA-4B23-A7DB-3B0AB2D58CE4}" type="presParOf" srcId="{EFD56F45-4774-4B05-9611-1DAE7317A1F2}" destId="{EFBB13B6-B3FF-4F11-8233-4032D576033A}" srcOrd="2" destOrd="0" presId="urn:microsoft.com/office/officeart/2008/layout/LinedList"/>
    <dgm:cxn modelId="{C70C3259-7F31-4126-AB72-8DE3498D5BB2}" type="presParOf" srcId="{81581667-0701-47F0-847E-EE4DD183EAB0}" destId="{449DB954-DAAE-429F-84F9-21EB5265CA96}" srcOrd="11" destOrd="0" presId="urn:microsoft.com/office/officeart/2008/layout/LinedList"/>
    <dgm:cxn modelId="{E9DE2C58-C2E6-4A82-AB4E-E86C3A3300B9}" type="presParOf" srcId="{81581667-0701-47F0-847E-EE4DD183EAB0}" destId="{9E53F462-51BC-4BD8-B0E4-22D8C9B74FC8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5F33173-4810-47E2-834C-D9773AAEE09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11C52F4-E2A6-43BB-8B85-940807987884}">
      <dgm:prSet phldrT="[Text]"/>
      <dgm:spPr/>
      <dgm:t>
        <a:bodyPr/>
        <a:lstStyle/>
        <a:p>
          <a:r>
            <a:rPr lang="en-US"/>
            <a:t>Data Types Supported</a:t>
          </a:r>
        </a:p>
      </dgm:t>
    </dgm:pt>
    <dgm:pt modelId="{E2F706DD-E8A6-4EEB-A8F5-71AEB3805D87}" type="parTrans" cxnId="{AD8CA806-3CEF-413D-ACAB-091CEC0ADDA4}">
      <dgm:prSet/>
      <dgm:spPr/>
      <dgm:t>
        <a:bodyPr/>
        <a:lstStyle/>
        <a:p>
          <a:endParaRPr lang="en-US"/>
        </a:p>
      </dgm:t>
    </dgm:pt>
    <dgm:pt modelId="{1F2626F3-5054-4EBE-9FA4-7E4BF871A7D5}" type="sibTrans" cxnId="{AD8CA806-3CEF-413D-ACAB-091CEC0ADDA4}">
      <dgm:prSet/>
      <dgm:spPr/>
      <dgm:t>
        <a:bodyPr/>
        <a:lstStyle/>
        <a:p>
          <a:endParaRPr lang="en-US"/>
        </a:p>
      </dgm:t>
    </dgm:pt>
    <dgm:pt modelId="{60B3CEAA-6526-4F9F-AFC8-371B6E34BDAB}">
      <dgm:prSet phldrT="[Text]"/>
      <dgm:spPr/>
      <dgm:t>
        <a:bodyPr/>
        <a:lstStyle/>
        <a:p>
          <a:r>
            <a:rPr lang="en-US"/>
            <a:t>Boolean</a:t>
          </a:r>
        </a:p>
      </dgm:t>
    </dgm:pt>
    <dgm:pt modelId="{C260140B-D5BE-43E6-8FE2-EE7B232E0374}" type="parTrans" cxnId="{2A240B32-B89D-480C-B361-A0C4E897B310}">
      <dgm:prSet/>
      <dgm:spPr/>
      <dgm:t>
        <a:bodyPr/>
        <a:lstStyle/>
        <a:p>
          <a:endParaRPr lang="en-US"/>
        </a:p>
      </dgm:t>
    </dgm:pt>
    <dgm:pt modelId="{8275358D-4CAD-4EE4-AB7B-280B0323EC9A}" type="sibTrans" cxnId="{2A240B32-B89D-480C-B361-A0C4E897B310}">
      <dgm:prSet/>
      <dgm:spPr/>
      <dgm:t>
        <a:bodyPr/>
        <a:lstStyle/>
        <a:p>
          <a:endParaRPr lang="en-US"/>
        </a:p>
      </dgm:t>
    </dgm:pt>
    <dgm:pt modelId="{78156408-1511-4D46-849D-8138B1CDCD05}">
      <dgm:prSet phldrT="[Text]"/>
      <dgm:spPr/>
      <dgm:t>
        <a:bodyPr/>
        <a:lstStyle/>
        <a:p>
          <a:r>
            <a:rPr lang="en-US"/>
            <a:t>REAL</a:t>
          </a:r>
        </a:p>
      </dgm:t>
    </dgm:pt>
    <dgm:pt modelId="{C942E23E-20AD-4EA3-A7DF-66BEFB142269}" type="parTrans" cxnId="{9D5C1148-DA1C-41BF-B2D1-A4CB184B80AF}">
      <dgm:prSet/>
      <dgm:spPr/>
      <dgm:t>
        <a:bodyPr/>
        <a:lstStyle/>
        <a:p>
          <a:endParaRPr lang="en-US"/>
        </a:p>
      </dgm:t>
    </dgm:pt>
    <dgm:pt modelId="{937321A8-7FEC-4FA4-9B29-E6EB7ABD308B}" type="sibTrans" cxnId="{9D5C1148-DA1C-41BF-B2D1-A4CB184B80AF}">
      <dgm:prSet/>
      <dgm:spPr/>
      <dgm:t>
        <a:bodyPr/>
        <a:lstStyle/>
        <a:p>
          <a:endParaRPr lang="en-US"/>
        </a:p>
      </dgm:t>
    </dgm:pt>
    <dgm:pt modelId="{11DC502B-0718-4D2F-A5E9-8EDAC1B76D35}">
      <dgm:prSet phldrT="[Text]"/>
      <dgm:spPr/>
      <dgm:t>
        <a:bodyPr/>
        <a:lstStyle/>
        <a:p>
          <a:r>
            <a:rPr lang="en-US"/>
            <a:t>LREAL</a:t>
          </a:r>
        </a:p>
      </dgm:t>
    </dgm:pt>
    <dgm:pt modelId="{5AEE2A2E-D6A6-4209-9150-DF0CE5966CEC}" type="parTrans" cxnId="{4390A4F6-D42F-4D71-8FC9-665C292C8555}">
      <dgm:prSet/>
      <dgm:spPr/>
      <dgm:t>
        <a:bodyPr/>
        <a:lstStyle/>
        <a:p>
          <a:endParaRPr lang="en-US"/>
        </a:p>
      </dgm:t>
    </dgm:pt>
    <dgm:pt modelId="{DE6C9287-BDEB-4E78-A72F-AAA7E3D2DAD0}" type="sibTrans" cxnId="{4390A4F6-D42F-4D71-8FC9-665C292C8555}">
      <dgm:prSet/>
      <dgm:spPr/>
      <dgm:t>
        <a:bodyPr/>
        <a:lstStyle/>
        <a:p>
          <a:endParaRPr lang="en-US"/>
        </a:p>
      </dgm:t>
    </dgm:pt>
    <dgm:pt modelId="{BB7DA02E-E517-4EE5-AEA7-A13B379BE4A5}">
      <dgm:prSet phldrT="[Text]"/>
      <dgm:spPr/>
      <dgm:t>
        <a:bodyPr/>
        <a:lstStyle/>
        <a:p>
          <a:r>
            <a:rPr lang="en-US"/>
            <a:t>SINT</a:t>
          </a:r>
        </a:p>
      </dgm:t>
    </dgm:pt>
    <dgm:pt modelId="{1466A4FA-3A3D-485A-ABDA-8B4E9FA2C2E1}" type="parTrans" cxnId="{06DDECAE-414E-48C3-9D67-8F5D5EE91701}">
      <dgm:prSet/>
      <dgm:spPr/>
      <dgm:t>
        <a:bodyPr/>
        <a:lstStyle/>
        <a:p>
          <a:endParaRPr lang="en-US"/>
        </a:p>
      </dgm:t>
    </dgm:pt>
    <dgm:pt modelId="{498AED54-0111-4909-90B9-C672646F664D}" type="sibTrans" cxnId="{06DDECAE-414E-48C3-9D67-8F5D5EE91701}">
      <dgm:prSet/>
      <dgm:spPr/>
      <dgm:t>
        <a:bodyPr/>
        <a:lstStyle/>
        <a:p>
          <a:endParaRPr lang="en-US"/>
        </a:p>
      </dgm:t>
    </dgm:pt>
    <dgm:pt modelId="{904C8F1F-D6CA-46B2-983D-6A2E351D43C7}">
      <dgm:prSet phldrT="[Text]"/>
      <dgm:spPr/>
      <dgm:t>
        <a:bodyPr/>
        <a:lstStyle/>
        <a:p>
          <a:r>
            <a:rPr lang="en-US"/>
            <a:t>USINT</a:t>
          </a:r>
        </a:p>
      </dgm:t>
    </dgm:pt>
    <dgm:pt modelId="{F9F1BF08-0718-49F2-9008-132A4616C980}" type="parTrans" cxnId="{C24EBBBD-51D0-4EB8-9DCC-49AD49C4FAC4}">
      <dgm:prSet/>
      <dgm:spPr/>
      <dgm:t>
        <a:bodyPr/>
        <a:lstStyle/>
        <a:p>
          <a:endParaRPr lang="en-US"/>
        </a:p>
      </dgm:t>
    </dgm:pt>
    <dgm:pt modelId="{8E4EAE57-D7BE-4FAA-AE64-BAD8CC9F42C8}" type="sibTrans" cxnId="{C24EBBBD-51D0-4EB8-9DCC-49AD49C4FAC4}">
      <dgm:prSet/>
      <dgm:spPr/>
      <dgm:t>
        <a:bodyPr/>
        <a:lstStyle/>
        <a:p>
          <a:endParaRPr lang="en-US"/>
        </a:p>
      </dgm:t>
    </dgm:pt>
    <dgm:pt modelId="{499280DE-C97D-40E5-93DF-503509814596}">
      <dgm:prSet phldrT="[Text]"/>
      <dgm:spPr/>
      <dgm:t>
        <a:bodyPr/>
        <a:lstStyle/>
        <a:p>
          <a:r>
            <a:rPr lang="en-US"/>
            <a:t>BYTE</a:t>
          </a:r>
        </a:p>
      </dgm:t>
    </dgm:pt>
    <dgm:pt modelId="{2216FD49-1709-4277-843A-AE83DA5306D9}" type="parTrans" cxnId="{F8C45BF1-6013-43BE-ADF0-A0DACAA22C85}">
      <dgm:prSet/>
      <dgm:spPr/>
      <dgm:t>
        <a:bodyPr/>
        <a:lstStyle/>
        <a:p>
          <a:endParaRPr lang="en-US"/>
        </a:p>
      </dgm:t>
    </dgm:pt>
    <dgm:pt modelId="{C1473B3E-E0AE-4CD9-8887-B9ABFD54BED9}" type="sibTrans" cxnId="{F8C45BF1-6013-43BE-ADF0-A0DACAA22C85}">
      <dgm:prSet/>
      <dgm:spPr/>
      <dgm:t>
        <a:bodyPr/>
        <a:lstStyle/>
        <a:p>
          <a:endParaRPr lang="en-US"/>
        </a:p>
      </dgm:t>
    </dgm:pt>
    <dgm:pt modelId="{E3D2925F-CDE0-4C88-97C0-5A59340C8D38}">
      <dgm:prSet phldrT="[Text]"/>
      <dgm:spPr/>
      <dgm:t>
        <a:bodyPr/>
        <a:lstStyle/>
        <a:p>
          <a:r>
            <a:rPr lang="en-US"/>
            <a:t>INT</a:t>
          </a:r>
        </a:p>
      </dgm:t>
    </dgm:pt>
    <dgm:pt modelId="{AFA8365A-FE51-46A3-8578-9FAC618C4991}" type="parTrans" cxnId="{6689021C-F081-4934-8BD0-3B79A156DAD5}">
      <dgm:prSet/>
      <dgm:spPr/>
      <dgm:t>
        <a:bodyPr/>
        <a:lstStyle/>
        <a:p>
          <a:endParaRPr lang="en-US"/>
        </a:p>
      </dgm:t>
    </dgm:pt>
    <dgm:pt modelId="{22CCD865-0A93-43E7-A60D-2CB56FCD8A01}" type="sibTrans" cxnId="{6689021C-F081-4934-8BD0-3B79A156DAD5}">
      <dgm:prSet/>
      <dgm:spPr/>
      <dgm:t>
        <a:bodyPr/>
        <a:lstStyle/>
        <a:p>
          <a:endParaRPr lang="en-US"/>
        </a:p>
      </dgm:t>
    </dgm:pt>
    <dgm:pt modelId="{16941BDF-6B2A-4F23-8A31-7FE3050C02B0}">
      <dgm:prSet phldrT="[Text]"/>
      <dgm:spPr/>
      <dgm:t>
        <a:bodyPr/>
        <a:lstStyle/>
        <a:p>
          <a:r>
            <a:rPr lang="en-US"/>
            <a:t>UINT</a:t>
          </a:r>
        </a:p>
      </dgm:t>
    </dgm:pt>
    <dgm:pt modelId="{E2974906-EE98-41F7-8F59-225D6A5D869B}" type="parTrans" cxnId="{C5CC471C-ED7C-46BA-B68D-C5136D34C2E5}">
      <dgm:prSet/>
      <dgm:spPr/>
      <dgm:t>
        <a:bodyPr/>
        <a:lstStyle/>
        <a:p>
          <a:endParaRPr lang="en-US"/>
        </a:p>
      </dgm:t>
    </dgm:pt>
    <dgm:pt modelId="{5B5EB569-C92B-4480-B122-95CECA9ABEC1}" type="sibTrans" cxnId="{C5CC471C-ED7C-46BA-B68D-C5136D34C2E5}">
      <dgm:prSet/>
      <dgm:spPr/>
      <dgm:t>
        <a:bodyPr/>
        <a:lstStyle/>
        <a:p>
          <a:endParaRPr lang="en-US"/>
        </a:p>
      </dgm:t>
    </dgm:pt>
    <dgm:pt modelId="{71776D91-FF32-4A2F-A6D1-0CBF3B8F5561}">
      <dgm:prSet phldrT="[Text]"/>
      <dgm:spPr/>
      <dgm:t>
        <a:bodyPr/>
        <a:lstStyle/>
        <a:p>
          <a:r>
            <a:rPr lang="en-US"/>
            <a:t>WORD</a:t>
          </a:r>
        </a:p>
      </dgm:t>
    </dgm:pt>
    <dgm:pt modelId="{8BE79FBA-0BE4-4170-8B54-D79E236BEE37}" type="parTrans" cxnId="{CBC99C03-F723-4267-B5D3-9342247A17B9}">
      <dgm:prSet/>
      <dgm:spPr/>
      <dgm:t>
        <a:bodyPr/>
        <a:lstStyle/>
        <a:p>
          <a:endParaRPr lang="en-US"/>
        </a:p>
      </dgm:t>
    </dgm:pt>
    <dgm:pt modelId="{D73BCBC0-033B-412A-AE5B-203F71D7D93E}" type="sibTrans" cxnId="{CBC99C03-F723-4267-B5D3-9342247A17B9}">
      <dgm:prSet/>
      <dgm:spPr/>
      <dgm:t>
        <a:bodyPr/>
        <a:lstStyle/>
        <a:p>
          <a:endParaRPr lang="en-US"/>
        </a:p>
      </dgm:t>
    </dgm:pt>
    <dgm:pt modelId="{0ADBFA6E-18BF-4476-803F-7A8D65F82556}">
      <dgm:prSet phldrT="[Text]"/>
      <dgm:spPr/>
      <dgm:t>
        <a:bodyPr/>
        <a:lstStyle/>
        <a:p>
          <a:r>
            <a:rPr lang="en-US"/>
            <a:t>DINT</a:t>
          </a:r>
        </a:p>
      </dgm:t>
    </dgm:pt>
    <dgm:pt modelId="{9A3E56EA-51FB-444D-A7A7-9C450B769342}" type="parTrans" cxnId="{507AB98F-E1F9-49BB-906F-BA187EF6AF93}">
      <dgm:prSet/>
      <dgm:spPr/>
      <dgm:t>
        <a:bodyPr/>
        <a:lstStyle/>
        <a:p>
          <a:endParaRPr lang="en-US"/>
        </a:p>
      </dgm:t>
    </dgm:pt>
    <dgm:pt modelId="{0036E42C-01B5-43AC-A409-766B5F8D9FF7}" type="sibTrans" cxnId="{507AB98F-E1F9-49BB-906F-BA187EF6AF93}">
      <dgm:prSet/>
      <dgm:spPr/>
      <dgm:t>
        <a:bodyPr/>
        <a:lstStyle/>
        <a:p>
          <a:endParaRPr lang="en-US"/>
        </a:p>
      </dgm:t>
    </dgm:pt>
    <dgm:pt modelId="{88D65469-1E47-4878-87CA-F49260AB1537}">
      <dgm:prSet phldrT="[Text]"/>
      <dgm:spPr/>
      <dgm:t>
        <a:bodyPr/>
        <a:lstStyle/>
        <a:p>
          <a:r>
            <a:rPr lang="en-US"/>
            <a:t>DWORD</a:t>
          </a:r>
        </a:p>
      </dgm:t>
    </dgm:pt>
    <dgm:pt modelId="{E8DF206F-B217-4A7F-ABD0-EE0C67009FE3}" type="parTrans" cxnId="{6980F64E-A28C-4374-861F-B06F8861EEF6}">
      <dgm:prSet/>
      <dgm:spPr/>
      <dgm:t>
        <a:bodyPr/>
        <a:lstStyle/>
        <a:p>
          <a:endParaRPr lang="en-US"/>
        </a:p>
      </dgm:t>
    </dgm:pt>
    <dgm:pt modelId="{8BE31E64-9014-400E-9B11-4E4C3C032997}" type="sibTrans" cxnId="{6980F64E-A28C-4374-861F-B06F8861EEF6}">
      <dgm:prSet/>
      <dgm:spPr/>
      <dgm:t>
        <a:bodyPr/>
        <a:lstStyle/>
        <a:p>
          <a:endParaRPr lang="en-US"/>
        </a:p>
      </dgm:t>
    </dgm:pt>
    <dgm:pt modelId="{445F2F54-F9B9-464E-9407-346D114C37CC}">
      <dgm:prSet phldrT="[Text]"/>
      <dgm:spPr/>
      <dgm:t>
        <a:bodyPr/>
        <a:lstStyle/>
        <a:p>
          <a:r>
            <a:rPr lang="en-US"/>
            <a:t>LINT</a:t>
          </a:r>
        </a:p>
      </dgm:t>
    </dgm:pt>
    <dgm:pt modelId="{AC9735AF-6708-4FDF-964F-CFE0E5B375EE}" type="parTrans" cxnId="{8B94B687-5DAE-4A25-B3B7-EB0C526769C3}">
      <dgm:prSet/>
      <dgm:spPr/>
      <dgm:t>
        <a:bodyPr/>
        <a:lstStyle/>
        <a:p>
          <a:endParaRPr lang="en-US"/>
        </a:p>
      </dgm:t>
    </dgm:pt>
    <dgm:pt modelId="{DB43E4BE-6040-4C33-9001-4A018B49E24F}" type="sibTrans" cxnId="{8B94B687-5DAE-4A25-B3B7-EB0C526769C3}">
      <dgm:prSet/>
      <dgm:spPr/>
      <dgm:t>
        <a:bodyPr/>
        <a:lstStyle/>
        <a:p>
          <a:endParaRPr lang="en-US"/>
        </a:p>
      </dgm:t>
    </dgm:pt>
    <dgm:pt modelId="{57220EE2-F05C-455C-92D0-F77287161B48}">
      <dgm:prSet phldrT="[Text]"/>
      <dgm:spPr/>
      <dgm:t>
        <a:bodyPr/>
        <a:lstStyle/>
        <a:p>
          <a:r>
            <a:rPr lang="en-US"/>
            <a:t>ULINT</a:t>
          </a:r>
        </a:p>
      </dgm:t>
    </dgm:pt>
    <dgm:pt modelId="{8AEFE465-986F-4DEF-BF0E-4A3F44AA9BC3}" type="parTrans" cxnId="{599E11BC-CC65-4AC2-A5D8-D02227029C65}">
      <dgm:prSet/>
      <dgm:spPr/>
      <dgm:t>
        <a:bodyPr/>
        <a:lstStyle/>
        <a:p>
          <a:endParaRPr lang="en-US"/>
        </a:p>
      </dgm:t>
    </dgm:pt>
    <dgm:pt modelId="{C30DA572-0F45-4661-8B7D-75A835311809}" type="sibTrans" cxnId="{599E11BC-CC65-4AC2-A5D8-D02227029C65}">
      <dgm:prSet/>
      <dgm:spPr/>
      <dgm:t>
        <a:bodyPr/>
        <a:lstStyle/>
        <a:p>
          <a:endParaRPr lang="en-US"/>
        </a:p>
      </dgm:t>
    </dgm:pt>
    <dgm:pt modelId="{B5D1E8F3-C949-4DCB-8EDF-B8EC8BF02049}">
      <dgm:prSet phldrT="[Text]"/>
      <dgm:spPr/>
      <dgm:t>
        <a:bodyPr/>
        <a:lstStyle/>
        <a:p>
          <a:r>
            <a:rPr lang="en-US"/>
            <a:t>LWORD</a:t>
          </a:r>
        </a:p>
      </dgm:t>
    </dgm:pt>
    <dgm:pt modelId="{9FCCCA2D-E38C-4445-BB1F-F357AFB66F08}" type="parTrans" cxnId="{DBEDA788-430E-4F34-829A-423AD1C54628}">
      <dgm:prSet/>
      <dgm:spPr/>
      <dgm:t>
        <a:bodyPr/>
        <a:lstStyle/>
        <a:p>
          <a:endParaRPr lang="en-US"/>
        </a:p>
      </dgm:t>
    </dgm:pt>
    <dgm:pt modelId="{90069487-E724-42E2-B681-E2DA2039EDC8}" type="sibTrans" cxnId="{DBEDA788-430E-4F34-829A-423AD1C54628}">
      <dgm:prSet/>
      <dgm:spPr/>
      <dgm:t>
        <a:bodyPr/>
        <a:lstStyle/>
        <a:p>
          <a:endParaRPr lang="en-US"/>
        </a:p>
      </dgm:t>
    </dgm:pt>
    <dgm:pt modelId="{0933F751-5A5F-4F90-A282-1304CECB0A20}">
      <dgm:prSet phldrT="[Text]"/>
      <dgm:spPr/>
      <dgm:t>
        <a:bodyPr/>
        <a:lstStyle/>
        <a:p>
          <a:r>
            <a:rPr lang="en-US"/>
            <a:t>TIME</a:t>
          </a:r>
        </a:p>
      </dgm:t>
    </dgm:pt>
    <dgm:pt modelId="{863B13C7-72E7-40FB-A7D1-1C6E065EBF1D}" type="parTrans" cxnId="{BCB382F8-DFE2-4DF7-89B3-C6342E676E31}">
      <dgm:prSet/>
      <dgm:spPr/>
      <dgm:t>
        <a:bodyPr/>
        <a:lstStyle/>
        <a:p>
          <a:endParaRPr lang="en-US"/>
        </a:p>
      </dgm:t>
    </dgm:pt>
    <dgm:pt modelId="{F48A6CAC-82FC-46AF-9B67-87F7B98D24B2}" type="sibTrans" cxnId="{BCB382F8-DFE2-4DF7-89B3-C6342E676E31}">
      <dgm:prSet/>
      <dgm:spPr/>
      <dgm:t>
        <a:bodyPr/>
        <a:lstStyle/>
        <a:p>
          <a:endParaRPr lang="en-US"/>
        </a:p>
      </dgm:t>
    </dgm:pt>
    <dgm:pt modelId="{83DFAAB1-9DE1-4C20-B578-670F3120E15D}">
      <dgm:prSet phldrT="[Text]"/>
      <dgm:spPr/>
      <dgm:t>
        <a:bodyPr/>
        <a:lstStyle/>
        <a:p>
          <a:r>
            <a:rPr lang="en-US"/>
            <a:t>STRING</a:t>
          </a:r>
        </a:p>
      </dgm:t>
    </dgm:pt>
    <dgm:pt modelId="{587A9CC3-677E-4899-96D2-1D84670A35DA}" type="parTrans" cxnId="{586F79BD-7444-4723-AC45-DDD5DC3C1FC9}">
      <dgm:prSet/>
      <dgm:spPr/>
      <dgm:t>
        <a:bodyPr/>
        <a:lstStyle/>
        <a:p>
          <a:endParaRPr lang="en-US"/>
        </a:p>
      </dgm:t>
    </dgm:pt>
    <dgm:pt modelId="{A2560A8C-0BC4-48D1-9312-49677D61FC24}" type="sibTrans" cxnId="{586F79BD-7444-4723-AC45-DDD5DC3C1FC9}">
      <dgm:prSet/>
      <dgm:spPr/>
      <dgm:t>
        <a:bodyPr/>
        <a:lstStyle/>
        <a:p>
          <a:endParaRPr lang="en-US"/>
        </a:p>
      </dgm:t>
    </dgm:pt>
    <dgm:pt modelId="{A76AB44F-4232-4A9B-AEBF-85B83C1CC9E1}" type="pres">
      <dgm:prSet presAssocID="{95F33173-4810-47E2-834C-D9773AAEE097}" presName="vert0" presStyleCnt="0">
        <dgm:presLayoutVars>
          <dgm:dir/>
          <dgm:animOne val="branch"/>
          <dgm:animLvl val="lvl"/>
        </dgm:presLayoutVars>
      </dgm:prSet>
      <dgm:spPr/>
    </dgm:pt>
    <dgm:pt modelId="{AEDA5F68-DB38-4CBB-85E6-7C7C9768F978}" type="pres">
      <dgm:prSet presAssocID="{311C52F4-E2A6-43BB-8B85-940807987884}" presName="thickLine" presStyleLbl="alignNode1" presStyleIdx="0" presStyleCnt="1"/>
      <dgm:spPr/>
    </dgm:pt>
    <dgm:pt modelId="{03A2C246-2D08-49D1-B4F6-5DBD027F0D11}" type="pres">
      <dgm:prSet presAssocID="{311C52F4-E2A6-43BB-8B85-940807987884}" presName="horz1" presStyleCnt="0"/>
      <dgm:spPr/>
    </dgm:pt>
    <dgm:pt modelId="{90C38840-F6DA-4B15-BF7D-AF57FD138F64}" type="pres">
      <dgm:prSet presAssocID="{311C52F4-E2A6-43BB-8B85-940807987884}" presName="tx1" presStyleLbl="revTx" presStyleIdx="0" presStyleCnt="17"/>
      <dgm:spPr/>
    </dgm:pt>
    <dgm:pt modelId="{31BCD210-338C-448F-BBA4-5CB0E93FAB76}" type="pres">
      <dgm:prSet presAssocID="{311C52F4-E2A6-43BB-8B85-940807987884}" presName="vert1" presStyleCnt="0"/>
      <dgm:spPr/>
    </dgm:pt>
    <dgm:pt modelId="{70B5DD39-F0E6-4CCD-A976-9336E6EDA19B}" type="pres">
      <dgm:prSet presAssocID="{60B3CEAA-6526-4F9F-AFC8-371B6E34BDAB}" presName="vertSpace2a" presStyleCnt="0"/>
      <dgm:spPr/>
    </dgm:pt>
    <dgm:pt modelId="{0296FAA2-AE4C-45CC-B57B-8F72A58ADA85}" type="pres">
      <dgm:prSet presAssocID="{60B3CEAA-6526-4F9F-AFC8-371B6E34BDAB}" presName="horz2" presStyleCnt="0"/>
      <dgm:spPr/>
    </dgm:pt>
    <dgm:pt modelId="{7AACAC38-353A-45A2-A6F4-AB83EBD72D04}" type="pres">
      <dgm:prSet presAssocID="{60B3CEAA-6526-4F9F-AFC8-371B6E34BDAB}" presName="horzSpace2" presStyleCnt="0"/>
      <dgm:spPr/>
    </dgm:pt>
    <dgm:pt modelId="{AC089D7D-CF93-4FD2-BA9F-1EED0D953510}" type="pres">
      <dgm:prSet presAssocID="{60B3CEAA-6526-4F9F-AFC8-371B6E34BDAB}" presName="tx2" presStyleLbl="revTx" presStyleIdx="1" presStyleCnt="17"/>
      <dgm:spPr/>
    </dgm:pt>
    <dgm:pt modelId="{5928A09A-52C2-4FCA-819D-3E354B694261}" type="pres">
      <dgm:prSet presAssocID="{60B3CEAA-6526-4F9F-AFC8-371B6E34BDAB}" presName="vert2" presStyleCnt="0"/>
      <dgm:spPr/>
    </dgm:pt>
    <dgm:pt modelId="{A32CE9FA-C2CB-4C6B-9FAE-461A308FEF09}" type="pres">
      <dgm:prSet presAssocID="{60B3CEAA-6526-4F9F-AFC8-371B6E34BDAB}" presName="thinLine2b" presStyleLbl="callout" presStyleIdx="0" presStyleCnt="16"/>
      <dgm:spPr/>
    </dgm:pt>
    <dgm:pt modelId="{E21BB954-3E77-4FA9-93A8-84FE98208B32}" type="pres">
      <dgm:prSet presAssocID="{60B3CEAA-6526-4F9F-AFC8-371B6E34BDAB}" presName="vertSpace2b" presStyleCnt="0"/>
      <dgm:spPr/>
    </dgm:pt>
    <dgm:pt modelId="{190981D1-B1C9-40B1-8AAC-5502C48ACFE8}" type="pres">
      <dgm:prSet presAssocID="{BB7DA02E-E517-4EE5-AEA7-A13B379BE4A5}" presName="horz2" presStyleCnt="0"/>
      <dgm:spPr/>
    </dgm:pt>
    <dgm:pt modelId="{73287DA4-4908-4E8B-A9FE-08BE2D0805DF}" type="pres">
      <dgm:prSet presAssocID="{BB7DA02E-E517-4EE5-AEA7-A13B379BE4A5}" presName="horzSpace2" presStyleCnt="0"/>
      <dgm:spPr/>
    </dgm:pt>
    <dgm:pt modelId="{ACD230D0-FFF4-4F83-9643-7EA2BC075469}" type="pres">
      <dgm:prSet presAssocID="{BB7DA02E-E517-4EE5-AEA7-A13B379BE4A5}" presName="tx2" presStyleLbl="revTx" presStyleIdx="2" presStyleCnt="17"/>
      <dgm:spPr/>
    </dgm:pt>
    <dgm:pt modelId="{A61784A7-BE43-4615-B446-070B34878E46}" type="pres">
      <dgm:prSet presAssocID="{BB7DA02E-E517-4EE5-AEA7-A13B379BE4A5}" presName="vert2" presStyleCnt="0"/>
      <dgm:spPr/>
    </dgm:pt>
    <dgm:pt modelId="{75B164C9-7B3F-4CAA-8BDE-8B04E56E05B1}" type="pres">
      <dgm:prSet presAssocID="{BB7DA02E-E517-4EE5-AEA7-A13B379BE4A5}" presName="thinLine2b" presStyleLbl="callout" presStyleIdx="1" presStyleCnt="16"/>
      <dgm:spPr/>
    </dgm:pt>
    <dgm:pt modelId="{29C174D5-A046-4462-8037-C660B5C7CDE8}" type="pres">
      <dgm:prSet presAssocID="{BB7DA02E-E517-4EE5-AEA7-A13B379BE4A5}" presName="vertSpace2b" presStyleCnt="0"/>
      <dgm:spPr/>
    </dgm:pt>
    <dgm:pt modelId="{470DBE40-1B9B-4809-8AB0-471EAF9EE1DD}" type="pres">
      <dgm:prSet presAssocID="{904C8F1F-D6CA-46B2-983D-6A2E351D43C7}" presName="horz2" presStyleCnt="0"/>
      <dgm:spPr/>
    </dgm:pt>
    <dgm:pt modelId="{74678753-528A-42C9-B59F-EF2DCAB13559}" type="pres">
      <dgm:prSet presAssocID="{904C8F1F-D6CA-46B2-983D-6A2E351D43C7}" presName="horzSpace2" presStyleCnt="0"/>
      <dgm:spPr/>
    </dgm:pt>
    <dgm:pt modelId="{BF82B72D-A957-43F3-92BB-B010F16E3D36}" type="pres">
      <dgm:prSet presAssocID="{904C8F1F-D6CA-46B2-983D-6A2E351D43C7}" presName="tx2" presStyleLbl="revTx" presStyleIdx="3" presStyleCnt="17"/>
      <dgm:spPr/>
    </dgm:pt>
    <dgm:pt modelId="{D1400BFD-46E1-4B38-BF30-533F19201A0A}" type="pres">
      <dgm:prSet presAssocID="{904C8F1F-D6CA-46B2-983D-6A2E351D43C7}" presName="vert2" presStyleCnt="0"/>
      <dgm:spPr/>
    </dgm:pt>
    <dgm:pt modelId="{6352B019-5E33-4940-B043-FACB9F821A15}" type="pres">
      <dgm:prSet presAssocID="{904C8F1F-D6CA-46B2-983D-6A2E351D43C7}" presName="thinLine2b" presStyleLbl="callout" presStyleIdx="2" presStyleCnt="16"/>
      <dgm:spPr/>
    </dgm:pt>
    <dgm:pt modelId="{D4C42D89-83E7-4AA4-9131-84FFC8583035}" type="pres">
      <dgm:prSet presAssocID="{904C8F1F-D6CA-46B2-983D-6A2E351D43C7}" presName="vertSpace2b" presStyleCnt="0"/>
      <dgm:spPr/>
    </dgm:pt>
    <dgm:pt modelId="{4238EEC5-5830-4134-916B-028923DF85EE}" type="pres">
      <dgm:prSet presAssocID="{499280DE-C97D-40E5-93DF-503509814596}" presName="horz2" presStyleCnt="0"/>
      <dgm:spPr/>
    </dgm:pt>
    <dgm:pt modelId="{8D981AEC-9055-492C-9C9B-7087535D1221}" type="pres">
      <dgm:prSet presAssocID="{499280DE-C97D-40E5-93DF-503509814596}" presName="horzSpace2" presStyleCnt="0"/>
      <dgm:spPr/>
    </dgm:pt>
    <dgm:pt modelId="{BE46E154-A1A8-41F1-8E54-1EE6C27C18E4}" type="pres">
      <dgm:prSet presAssocID="{499280DE-C97D-40E5-93DF-503509814596}" presName="tx2" presStyleLbl="revTx" presStyleIdx="4" presStyleCnt="17"/>
      <dgm:spPr/>
    </dgm:pt>
    <dgm:pt modelId="{944D918B-A0EA-4A4F-A48E-FEBD7554B6C4}" type="pres">
      <dgm:prSet presAssocID="{499280DE-C97D-40E5-93DF-503509814596}" presName="vert2" presStyleCnt="0"/>
      <dgm:spPr/>
    </dgm:pt>
    <dgm:pt modelId="{29FB5101-C34E-434D-B584-27B03120ED35}" type="pres">
      <dgm:prSet presAssocID="{499280DE-C97D-40E5-93DF-503509814596}" presName="thinLine2b" presStyleLbl="callout" presStyleIdx="3" presStyleCnt="16"/>
      <dgm:spPr/>
    </dgm:pt>
    <dgm:pt modelId="{C1FC5466-C847-408B-8819-2258E5EE9365}" type="pres">
      <dgm:prSet presAssocID="{499280DE-C97D-40E5-93DF-503509814596}" presName="vertSpace2b" presStyleCnt="0"/>
      <dgm:spPr/>
    </dgm:pt>
    <dgm:pt modelId="{2683529D-715D-4910-AA72-A06A180D83D5}" type="pres">
      <dgm:prSet presAssocID="{E3D2925F-CDE0-4C88-97C0-5A59340C8D38}" presName="horz2" presStyleCnt="0"/>
      <dgm:spPr/>
    </dgm:pt>
    <dgm:pt modelId="{ED694447-ABBF-43C8-A275-ED4AC80C6653}" type="pres">
      <dgm:prSet presAssocID="{E3D2925F-CDE0-4C88-97C0-5A59340C8D38}" presName="horzSpace2" presStyleCnt="0"/>
      <dgm:spPr/>
    </dgm:pt>
    <dgm:pt modelId="{A266113C-D01C-454F-B608-24A614AA1CA5}" type="pres">
      <dgm:prSet presAssocID="{E3D2925F-CDE0-4C88-97C0-5A59340C8D38}" presName="tx2" presStyleLbl="revTx" presStyleIdx="5" presStyleCnt="17"/>
      <dgm:spPr/>
    </dgm:pt>
    <dgm:pt modelId="{2A3F5676-F1BB-43FD-9A1C-37438C0FCCFD}" type="pres">
      <dgm:prSet presAssocID="{E3D2925F-CDE0-4C88-97C0-5A59340C8D38}" presName="vert2" presStyleCnt="0"/>
      <dgm:spPr/>
    </dgm:pt>
    <dgm:pt modelId="{7FE41DAE-B5DD-4A95-8B67-9E6839C8C95E}" type="pres">
      <dgm:prSet presAssocID="{E3D2925F-CDE0-4C88-97C0-5A59340C8D38}" presName="thinLine2b" presStyleLbl="callout" presStyleIdx="4" presStyleCnt="16"/>
      <dgm:spPr/>
    </dgm:pt>
    <dgm:pt modelId="{9C65A940-77E2-495F-BB59-CF15ED04ADB8}" type="pres">
      <dgm:prSet presAssocID="{E3D2925F-CDE0-4C88-97C0-5A59340C8D38}" presName="vertSpace2b" presStyleCnt="0"/>
      <dgm:spPr/>
    </dgm:pt>
    <dgm:pt modelId="{50E79312-A549-445A-86F4-8066C6156B2C}" type="pres">
      <dgm:prSet presAssocID="{16941BDF-6B2A-4F23-8A31-7FE3050C02B0}" presName="horz2" presStyleCnt="0"/>
      <dgm:spPr/>
    </dgm:pt>
    <dgm:pt modelId="{1C6F8C43-8EC9-488E-BDB6-41E7C2E34C01}" type="pres">
      <dgm:prSet presAssocID="{16941BDF-6B2A-4F23-8A31-7FE3050C02B0}" presName="horzSpace2" presStyleCnt="0"/>
      <dgm:spPr/>
    </dgm:pt>
    <dgm:pt modelId="{A57C2110-462D-472D-BA17-3F97043017A8}" type="pres">
      <dgm:prSet presAssocID="{16941BDF-6B2A-4F23-8A31-7FE3050C02B0}" presName="tx2" presStyleLbl="revTx" presStyleIdx="6" presStyleCnt="17"/>
      <dgm:spPr/>
    </dgm:pt>
    <dgm:pt modelId="{C434FB3B-F1AA-4798-BC4D-6D15FCBB0E68}" type="pres">
      <dgm:prSet presAssocID="{16941BDF-6B2A-4F23-8A31-7FE3050C02B0}" presName="vert2" presStyleCnt="0"/>
      <dgm:spPr/>
    </dgm:pt>
    <dgm:pt modelId="{AAD56D4D-45F3-4C30-A5DC-515783A926A2}" type="pres">
      <dgm:prSet presAssocID="{16941BDF-6B2A-4F23-8A31-7FE3050C02B0}" presName="thinLine2b" presStyleLbl="callout" presStyleIdx="5" presStyleCnt="16"/>
      <dgm:spPr/>
    </dgm:pt>
    <dgm:pt modelId="{CCDC5735-7481-4233-A32C-44182AA1860B}" type="pres">
      <dgm:prSet presAssocID="{16941BDF-6B2A-4F23-8A31-7FE3050C02B0}" presName="vertSpace2b" presStyleCnt="0"/>
      <dgm:spPr/>
    </dgm:pt>
    <dgm:pt modelId="{368A2896-023A-4017-AC08-9F8A6473A230}" type="pres">
      <dgm:prSet presAssocID="{71776D91-FF32-4A2F-A6D1-0CBF3B8F5561}" presName="horz2" presStyleCnt="0"/>
      <dgm:spPr/>
    </dgm:pt>
    <dgm:pt modelId="{C8B26C78-7D69-4A58-9A1C-8C79424CFFFC}" type="pres">
      <dgm:prSet presAssocID="{71776D91-FF32-4A2F-A6D1-0CBF3B8F5561}" presName="horzSpace2" presStyleCnt="0"/>
      <dgm:spPr/>
    </dgm:pt>
    <dgm:pt modelId="{456CD534-1D90-451B-B242-846092421D6D}" type="pres">
      <dgm:prSet presAssocID="{71776D91-FF32-4A2F-A6D1-0CBF3B8F5561}" presName="tx2" presStyleLbl="revTx" presStyleIdx="7" presStyleCnt="17"/>
      <dgm:spPr/>
    </dgm:pt>
    <dgm:pt modelId="{A58D505C-FEF9-441E-90E1-A8B39A2AC4F0}" type="pres">
      <dgm:prSet presAssocID="{71776D91-FF32-4A2F-A6D1-0CBF3B8F5561}" presName="vert2" presStyleCnt="0"/>
      <dgm:spPr/>
    </dgm:pt>
    <dgm:pt modelId="{693615FE-1FE4-4CBB-8BAD-203705657481}" type="pres">
      <dgm:prSet presAssocID="{71776D91-FF32-4A2F-A6D1-0CBF3B8F5561}" presName="thinLine2b" presStyleLbl="callout" presStyleIdx="6" presStyleCnt="16"/>
      <dgm:spPr/>
    </dgm:pt>
    <dgm:pt modelId="{67092582-4A29-43FA-954F-B338651AC4DE}" type="pres">
      <dgm:prSet presAssocID="{71776D91-FF32-4A2F-A6D1-0CBF3B8F5561}" presName="vertSpace2b" presStyleCnt="0"/>
      <dgm:spPr/>
    </dgm:pt>
    <dgm:pt modelId="{B487484B-ABD3-424A-8707-1C5F01680B11}" type="pres">
      <dgm:prSet presAssocID="{0ADBFA6E-18BF-4476-803F-7A8D65F82556}" presName="horz2" presStyleCnt="0"/>
      <dgm:spPr/>
    </dgm:pt>
    <dgm:pt modelId="{DF23F979-C31D-4512-881C-5D28812F6AA4}" type="pres">
      <dgm:prSet presAssocID="{0ADBFA6E-18BF-4476-803F-7A8D65F82556}" presName="horzSpace2" presStyleCnt="0"/>
      <dgm:spPr/>
    </dgm:pt>
    <dgm:pt modelId="{08B1B8DE-E871-497A-9690-037009F5F175}" type="pres">
      <dgm:prSet presAssocID="{0ADBFA6E-18BF-4476-803F-7A8D65F82556}" presName="tx2" presStyleLbl="revTx" presStyleIdx="8" presStyleCnt="17"/>
      <dgm:spPr/>
    </dgm:pt>
    <dgm:pt modelId="{1C703C25-1315-4D9A-9FC1-2CFDBC7E5702}" type="pres">
      <dgm:prSet presAssocID="{0ADBFA6E-18BF-4476-803F-7A8D65F82556}" presName="vert2" presStyleCnt="0"/>
      <dgm:spPr/>
    </dgm:pt>
    <dgm:pt modelId="{5C30380A-8D7B-4250-8217-2CE2C540B2BD}" type="pres">
      <dgm:prSet presAssocID="{0ADBFA6E-18BF-4476-803F-7A8D65F82556}" presName="thinLine2b" presStyleLbl="callout" presStyleIdx="7" presStyleCnt="16"/>
      <dgm:spPr/>
    </dgm:pt>
    <dgm:pt modelId="{A10400E7-0D93-46F1-ADCE-511B0E9D96E3}" type="pres">
      <dgm:prSet presAssocID="{0ADBFA6E-18BF-4476-803F-7A8D65F82556}" presName="vertSpace2b" presStyleCnt="0"/>
      <dgm:spPr/>
    </dgm:pt>
    <dgm:pt modelId="{80DE269E-2F61-4876-A887-80869022EE9A}" type="pres">
      <dgm:prSet presAssocID="{88D65469-1E47-4878-87CA-F49260AB1537}" presName="horz2" presStyleCnt="0"/>
      <dgm:spPr/>
    </dgm:pt>
    <dgm:pt modelId="{981F93BD-B940-407C-A715-12B988DE8616}" type="pres">
      <dgm:prSet presAssocID="{88D65469-1E47-4878-87CA-F49260AB1537}" presName="horzSpace2" presStyleCnt="0"/>
      <dgm:spPr/>
    </dgm:pt>
    <dgm:pt modelId="{1B5D6913-E199-4039-A20B-CA5F4755B9ED}" type="pres">
      <dgm:prSet presAssocID="{88D65469-1E47-4878-87CA-F49260AB1537}" presName="tx2" presStyleLbl="revTx" presStyleIdx="9" presStyleCnt="17"/>
      <dgm:spPr/>
    </dgm:pt>
    <dgm:pt modelId="{B93415AB-1E23-40DA-B49F-2E243F582BA5}" type="pres">
      <dgm:prSet presAssocID="{88D65469-1E47-4878-87CA-F49260AB1537}" presName="vert2" presStyleCnt="0"/>
      <dgm:spPr/>
    </dgm:pt>
    <dgm:pt modelId="{4D870915-B8B4-4591-B866-F361B34BB9C0}" type="pres">
      <dgm:prSet presAssocID="{88D65469-1E47-4878-87CA-F49260AB1537}" presName="thinLine2b" presStyleLbl="callout" presStyleIdx="8" presStyleCnt="16"/>
      <dgm:spPr/>
    </dgm:pt>
    <dgm:pt modelId="{BA64682E-D91F-4B7B-A15E-DA1C8120648B}" type="pres">
      <dgm:prSet presAssocID="{88D65469-1E47-4878-87CA-F49260AB1537}" presName="vertSpace2b" presStyleCnt="0"/>
      <dgm:spPr/>
    </dgm:pt>
    <dgm:pt modelId="{A1F8282D-98DA-4A03-BD85-77FB907A49EC}" type="pres">
      <dgm:prSet presAssocID="{445F2F54-F9B9-464E-9407-346D114C37CC}" presName="horz2" presStyleCnt="0"/>
      <dgm:spPr/>
    </dgm:pt>
    <dgm:pt modelId="{B38B9349-D8FB-4A08-8E32-2D9C5697B792}" type="pres">
      <dgm:prSet presAssocID="{445F2F54-F9B9-464E-9407-346D114C37CC}" presName="horzSpace2" presStyleCnt="0"/>
      <dgm:spPr/>
    </dgm:pt>
    <dgm:pt modelId="{35583A45-9A6D-4A10-A2A6-A8E7EC7172E5}" type="pres">
      <dgm:prSet presAssocID="{445F2F54-F9B9-464E-9407-346D114C37CC}" presName="tx2" presStyleLbl="revTx" presStyleIdx="10" presStyleCnt="17"/>
      <dgm:spPr/>
    </dgm:pt>
    <dgm:pt modelId="{480399E8-BEFE-4CAB-AD93-D07260293A02}" type="pres">
      <dgm:prSet presAssocID="{445F2F54-F9B9-464E-9407-346D114C37CC}" presName="vert2" presStyleCnt="0"/>
      <dgm:spPr/>
    </dgm:pt>
    <dgm:pt modelId="{AC7BB51E-06C6-4833-81A5-41B0038DA01C}" type="pres">
      <dgm:prSet presAssocID="{445F2F54-F9B9-464E-9407-346D114C37CC}" presName="thinLine2b" presStyleLbl="callout" presStyleIdx="9" presStyleCnt="16"/>
      <dgm:spPr/>
    </dgm:pt>
    <dgm:pt modelId="{B22088F7-0255-433F-8811-6E7C095A471A}" type="pres">
      <dgm:prSet presAssocID="{445F2F54-F9B9-464E-9407-346D114C37CC}" presName="vertSpace2b" presStyleCnt="0"/>
      <dgm:spPr/>
    </dgm:pt>
    <dgm:pt modelId="{0361A772-926B-489F-A996-C9609154420F}" type="pres">
      <dgm:prSet presAssocID="{57220EE2-F05C-455C-92D0-F77287161B48}" presName="horz2" presStyleCnt="0"/>
      <dgm:spPr/>
    </dgm:pt>
    <dgm:pt modelId="{F0AE170B-AEB0-44E0-AF77-4D707B1D9D10}" type="pres">
      <dgm:prSet presAssocID="{57220EE2-F05C-455C-92D0-F77287161B48}" presName="horzSpace2" presStyleCnt="0"/>
      <dgm:spPr/>
    </dgm:pt>
    <dgm:pt modelId="{C86F2C1B-2D3B-4879-AE9F-213C70FCB66F}" type="pres">
      <dgm:prSet presAssocID="{57220EE2-F05C-455C-92D0-F77287161B48}" presName="tx2" presStyleLbl="revTx" presStyleIdx="11" presStyleCnt="17"/>
      <dgm:spPr/>
    </dgm:pt>
    <dgm:pt modelId="{BB6C5347-235B-424A-ACC2-4474601A9FF9}" type="pres">
      <dgm:prSet presAssocID="{57220EE2-F05C-455C-92D0-F77287161B48}" presName="vert2" presStyleCnt="0"/>
      <dgm:spPr/>
    </dgm:pt>
    <dgm:pt modelId="{E3DDFE8F-7B87-4A81-B86A-A773EED95464}" type="pres">
      <dgm:prSet presAssocID="{57220EE2-F05C-455C-92D0-F77287161B48}" presName="thinLine2b" presStyleLbl="callout" presStyleIdx="10" presStyleCnt="16"/>
      <dgm:spPr/>
    </dgm:pt>
    <dgm:pt modelId="{32911EC1-6098-4A89-87F3-456466E0338C}" type="pres">
      <dgm:prSet presAssocID="{57220EE2-F05C-455C-92D0-F77287161B48}" presName="vertSpace2b" presStyleCnt="0"/>
      <dgm:spPr/>
    </dgm:pt>
    <dgm:pt modelId="{D9E5B1CA-A00E-4DA7-9F4B-1A03262B9A5B}" type="pres">
      <dgm:prSet presAssocID="{B5D1E8F3-C949-4DCB-8EDF-B8EC8BF02049}" presName="horz2" presStyleCnt="0"/>
      <dgm:spPr/>
    </dgm:pt>
    <dgm:pt modelId="{7DCB0F95-454B-405A-842A-E00B8DF2A6EC}" type="pres">
      <dgm:prSet presAssocID="{B5D1E8F3-C949-4DCB-8EDF-B8EC8BF02049}" presName="horzSpace2" presStyleCnt="0"/>
      <dgm:spPr/>
    </dgm:pt>
    <dgm:pt modelId="{0E4E4016-7E8C-408B-A686-A8E1BCD4506D}" type="pres">
      <dgm:prSet presAssocID="{B5D1E8F3-C949-4DCB-8EDF-B8EC8BF02049}" presName="tx2" presStyleLbl="revTx" presStyleIdx="12" presStyleCnt="17"/>
      <dgm:spPr/>
    </dgm:pt>
    <dgm:pt modelId="{8E19583A-440A-4D6E-A8A2-41FD21E8485D}" type="pres">
      <dgm:prSet presAssocID="{B5D1E8F3-C949-4DCB-8EDF-B8EC8BF02049}" presName="vert2" presStyleCnt="0"/>
      <dgm:spPr/>
    </dgm:pt>
    <dgm:pt modelId="{45EE0D7F-6306-4B79-BAF5-563F5CBC8B64}" type="pres">
      <dgm:prSet presAssocID="{B5D1E8F3-C949-4DCB-8EDF-B8EC8BF02049}" presName="thinLine2b" presStyleLbl="callout" presStyleIdx="11" presStyleCnt="16"/>
      <dgm:spPr/>
    </dgm:pt>
    <dgm:pt modelId="{04654A8D-5C8E-4512-B571-E897F90DA7E0}" type="pres">
      <dgm:prSet presAssocID="{B5D1E8F3-C949-4DCB-8EDF-B8EC8BF02049}" presName="vertSpace2b" presStyleCnt="0"/>
      <dgm:spPr/>
    </dgm:pt>
    <dgm:pt modelId="{8437384F-0A5F-446B-9021-A85A33249FB8}" type="pres">
      <dgm:prSet presAssocID="{78156408-1511-4D46-849D-8138B1CDCD05}" presName="horz2" presStyleCnt="0"/>
      <dgm:spPr/>
    </dgm:pt>
    <dgm:pt modelId="{5EF1AFDA-2430-46B0-B4ED-905D500A3663}" type="pres">
      <dgm:prSet presAssocID="{78156408-1511-4D46-849D-8138B1CDCD05}" presName="horzSpace2" presStyleCnt="0"/>
      <dgm:spPr/>
    </dgm:pt>
    <dgm:pt modelId="{B42C7542-EC28-4D81-8500-63D2F65BF284}" type="pres">
      <dgm:prSet presAssocID="{78156408-1511-4D46-849D-8138B1CDCD05}" presName="tx2" presStyleLbl="revTx" presStyleIdx="13" presStyleCnt="17"/>
      <dgm:spPr/>
    </dgm:pt>
    <dgm:pt modelId="{0AFB59DC-A2F1-40B8-9F04-0D5AAA1DB7F2}" type="pres">
      <dgm:prSet presAssocID="{78156408-1511-4D46-849D-8138B1CDCD05}" presName="vert2" presStyleCnt="0"/>
      <dgm:spPr/>
    </dgm:pt>
    <dgm:pt modelId="{8D22B8BA-B4A0-4183-B08F-28001A2B6636}" type="pres">
      <dgm:prSet presAssocID="{78156408-1511-4D46-849D-8138B1CDCD05}" presName="thinLine2b" presStyleLbl="callout" presStyleIdx="12" presStyleCnt="16"/>
      <dgm:spPr/>
    </dgm:pt>
    <dgm:pt modelId="{6F242872-5467-4C65-AE61-D64FF48A5707}" type="pres">
      <dgm:prSet presAssocID="{78156408-1511-4D46-849D-8138B1CDCD05}" presName="vertSpace2b" presStyleCnt="0"/>
      <dgm:spPr/>
    </dgm:pt>
    <dgm:pt modelId="{CB7E1EB3-28FB-414B-9864-0B86E1B69C23}" type="pres">
      <dgm:prSet presAssocID="{11DC502B-0718-4D2F-A5E9-8EDAC1B76D35}" presName="horz2" presStyleCnt="0"/>
      <dgm:spPr/>
    </dgm:pt>
    <dgm:pt modelId="{5A9188A4-2A62-4B47-A740-7663528D6FE7}" type="pres">
      <dgm:prSet presAssocID="{11DC502B-0718-4D2F-A5E9-8EDAC1B76D35}" presName="horzSpace2" presStyleCnt="0"/>
      <dgm:spPr/>
    </dgm:pt>
    <dgm:pt modelId="{DB64D356-55DD-4D54-8146-C37FFE150EEA}" type="pres">
      <dgm:prSet presAssocID="{11DC502B-0718-4D2F-A5E9-8EDAC1B76D35}" presName="tx2" presStyleLbl="revTx" presStyleIdx="14" presStyleCnt="17"/>
      <dgm:spPr/>
    </dgm:pt>
    <dgm:pt modelId="{C93EF402-E55E-48CA-9305-993459FADA69}" type="pres">
      <dgm:prSet presAssocID="{11DC502B-0718-4D2F-A5E9-8EDAC1B76D35}" presName="vert2" presStyleCnt="0"/>
      <dgm:spPr/>
    </dgm:pt>
    <dgm:pt modelId="{0188A1DD-8A12-4846-825B-A9BD80E610E9}" type="pres">
      <dgm:prSet presAssocID="{11DC502B-0718-4D2F-A5E9-8EDAC1B76D35}" presName="thinLine2b" presStyleLbl="callout" presStyleIdx="13" presStyleCnt="16"/>
      <dgm:spPr/>
    </dgm:pt>
    <dgm:pt modelId="{FF08BA36-B119-4499-BEF6-AF84A0A5824B}" type="pres">
      <dgm:prSet presAssocID="{11DC502B-0718-4D2F-A5E9-8EDAC1B76D35}" presName="vertSpace2b" presStyleCnt="0"/>
      <dgm:spPr/>
    </dgm:pt>
    <dgm:pt modelId="{AC0238CA-68E6-458A-BE52-08129F6BDC69}" type="pres">
      <dgm:prSet presAssocID="{0933F751-5A5F-4F90-A282-1304CECB0A20}" presName="horz2" presStyleCnt="0"/>
      <dgm:spPr/>
    </dgm:pt>
    <dgm:pt modelId="{251B40F5-7C08-4986-B4C2-C2F54A128E2B}" type="pres">
      <dgm:prSet presAssocID="{0933F751-5A5F-4F90-A282-1304CECB0A20}" presName="horzSpace2" presStyleCnt="0"/>
      <dgm:spPr/>
    </dgm:pt>
    <dgm:pt modelId="{65E09B91-D9B3-4395-B3DA-2F44B903E33D}" type="pres">
      <dgm:prSet presAssocID="{0933F751-5A5F-4F90-A282-1304CECB0A20}" presName="tx2" presStyleLbl="revTx" presStyleIdx="15" presStyleCnt="17"/>
      <dgm:spPr/>
    </dgm:pt>
    <dgm:pt modelId="{64FE0328-7ECE-4A41-81FD-92BA09EE0944}" type="pres">
      <dgm:prSet presAssocID="{0933F751-5A5F-4F90-A282-1304CECB0A20}" presName="vert2" presStyleCnt="0"/>
      <dgm:spPr/>
    </dgm:pt>
    <dgm:pt modelId="{CECF0841-54CE-4DFB-95E8-C87BA9CBD1EB}" type="pres">
      <dgm:prSet presAssocID="{0933F751-5A5F-4F90-A282-1304CECB0A20}" presName="thinLine2b" presStyleLbl="callout" presStyleIdx="14" presStyleCnt="16"/>
      <dgm:spPr/>
    </dgm:pt>
    <dgm:pt modelId="{9EFC3F19-E639-423B-92DB-1EB36788E551}" type="pres">
      <dgm:prSet presAssocID="{0933F751-5A5F-4F90-A282-1304CECB0A20}" presName="vertSpace2b" presStyleCnt="0"/>
      <dgm:spPr/>
    </dgm:pt>
    <dgm:pt modelId="{8AD04E3A-F569-4DC0-A756-5EA2DE565310}" type="pres">
      <dgm:prSet presAssocID="{83DFAAB1-9DE1-4C20-B578-670F3120E15D}" presName="horz2" presStyleCnt="0"/>
      <dgm:spPr/>
    </dgm:pt>
    <dgm:pt modelId="{6E3FCD69-3B7E-42C3-A1FD-DBECCEBB1C6E}" type="pres">
      <dgm:prSet presAssocID="{83DFAAB1-9DE1-4C20-B578-670F3120E15D}" presName="horzSpace2" presStyleCnt="0"/>
      <dgm:spPr/>
    </dgm:pt>
    <dgm:pt modelId="{2D35330D-E0B5-4D0E-8A8B-25B4E6666D46}" type="pres">
      <dgm:prSet presAssocID="{83DFAAB1-9DE1-4C20-B578-670F3120E15D}" presName="tx2" presStyleLbl="revTx" presStyleIdx="16" presStyleCnt="17"/>
      <dgm:spPr/>
    </dgm:pt>
    <dgm:pt modelId="{FD9E9281-2B4E-4A69-B276-9BDAA7B57C1C}" type="pres">
      <dgm:prSet presAssocID="{83DFAAB1-9DE1-4C20-B578-670F3120E15D}" presName="vert2" presStyleCnt="0"/>
      <dgm:spPr/>
    </dgm:pt>
    <dgm:pt modelId="{E34AA8E0-28F4-4AD9-A916-75294B6038A1}" type="pres">
      <dgm:prSet presAssocID="{83DFAAB1-9DE1-4C20-B578-670F3120E15D}" presName="thinLine2b" presStyleLbl="callout" presStyleIdx="15" presStyleCnt="16"/>
      <dgm:spPr/>
    </dgm:pt>
    <dgm:pt modelId="{FA6F3BD3-B07D-4554-BF0C-35BAA818B0C8}" type="pres">
      <dgm:prSet presAssocID="{83DFAAB1-9DE1-4C20-B578-670F3120E15D}" presName="vertSpace2b" presStyleCnt="0"/>
      <dgm:spPr/>
    </dgm:pt>
  </dgm:ptLst>
  <dgm:cxnLst>
    <dgm:cxn modelId="{CBC99C03-F723-4267-B5D3-9342247A17B9}" srcId="{311C52F4-E2A6-43BB-8B85-940807987884}" destId="{71776D91-FF32-4A2F-A6D1-0CBF3B8F5561}" srcOrd="6" destOrd="0" parTransId="{8BE79FBA-0BE4-4170-8B54-D79E236BEE37}" sibTransId="{D73BCBC0-033B-412A-AE5B-203F71D7D93E}"/>
    <dgm:cxn modelId="{AD8CA806-3CEF-413D-ACAB-091CEC0ADDA4}" srcId="{95F33173-4810-47E2-834C-D9773AAEE097}" destId="{311C52F4-E2A6-43BB-8B85-940807987884}" srcOrd="0" destOrd="0" parTransId="{E2F706DD-E8A6-4EEB-A8F5-71AEB3805D87}" sibTransId="{1F2626F3-5054-4EBE-9FA4-7E4BF871A7D5}"/>
    <dgm:cxn modelId="{6689021C-F081-4934-8BD0-3B79A156DAD5}" srcId="{311C52F4-E2A6-43BB-8B85-940807987884}" destId="{E3D2925F-CDE0-4C88-97C0-5A59340C8D38}" srcOrd="4" destOrd="0" parTransId="{AFA8365A-FE51-46A3-8578-9FAC618C4991}" sibTransId="{22CCD865-0A93-43E7-A60D-2CB56FCD8A01}"/>
    <dgm:cxn modelId="{C5CC471C-ED7C-46BA-B68D-C5136D34C2E5}" srcId="{311C52F4-E2A6-43BB-8B85-940807987884}" destId="{16941BDF-6B2A-4F23-8A31-7FE3050C02B0}" srcOrd="5" destOrd="0" parTransId="{E2974906-EE98-41F7-8F59-225D6A5D869B}" sibTransId="{5B5EB569-C92B-4480-B122-95CECA9ABEC1}"/>
    <dgm:cxn modelId="{2D3A2624-AB7B-4300-88F5-4B74A8F7E09B}" type="presOf" srcId="{78156408-1511-4D46-849D-8138B1CDCD05}" destId="{B42C7542-EC28-4D81-8500-63D2F65BF284}" srcOrd="0" destOrd="0" presId="urn:microsoft.com/office/officeart/2008/layout/LinedList"/>
    <dgm:cxn modelId="{8F2C1628-6A37-4FE5-BC11-6A62D9279432}" type="presOf" srcId="{BB7DA02E-E517-4EE5-AEA7-A13B379BE4A5}" destId="{ACD230D0-FFF4-4F83-9643-7EA2BC075469}" srcOrd="0" destOrd="0" presId="urn:microsoft.com/office/officeart/2008/layout/LinedList"/>
    <dgm:cxn modelId="{2A240B32-B89D-480C-B361-A0C4E897B310}" srcId="{311C52F4-E2A6-43BB-8B85-940807987884}" destId="{60B3CEAA-6526-4F9F-AFC8-371B6E34BDAB}" srcOrd="0" destOrd="0" parTransId="{C260140B-D5BE-43E6-8FE2-EE7B232E0374}" sibTransId="{8275358D-4CAD-4EE4-AB7B-280B0323EC9A}"/>
    <dgm:cxn modelId="{81980639-8479-456B-AEC9-013AD6881534}" type="presOf" srcId="{88D65469-1E47-4878-87CA-F49260AB1537}" destId="{1B5D6913-E199-4039-A20B-CA5F4755B9ED}" srcOrd="0" destOrd="0" presId="urn:microsoft.com/office/officeart/2008/layout/LinedList"/>
    <dgm:cxn modelId="{38D5B046-1252-4872-B797-C465A0063CBA}" type="presOf" srcId="{0933F751-5A5F-4F90-A282-1304CECB0A20}" destId="{65E09B91-D9B3-4395-B3DA-2F44B903E33D}" srcOrd="0" destOrd="0" presId="urn:microsoft.com/office/officeart/2008/layout/LinedList"/>
    <dgm:cxn modelId="{9D5C1148-DA1C-41BF-B2D1-A4CB184B80AF}" srcId="{311C52F4-E2A6-43BB-8B85-940807987884}" destId="{78156408-1511-4D46-849D-8138B1CDCD05}" srcOrd="12" destOrd="0" parTransId="{C942E23E-20AD-4EA3-A7DF-66BEFB142269}" sibTransId="{937321A8-7FEC-4FA4-9B29-E6EB7ABD308B}"/>
    <dgm:cxn modelId="{92E4384E-C108-4450-BC3E-7BAB04FE8A25}" type="presOf" srcId="{499280DE-C97D-40E5-93DF-503509814596}" destId="{BE46E154-A1A8-41F1-8E54-1EE6C27C18E4}" srcOrd="0" destOrd="0" presId="urn:microsoft.com/office/officeart/2008/layout/LinedList"/>
    <dgm:cxn modelId="{6980F64E-A28C-4374-861F-B06F8861EEF6}" srcId="{311C52F4-E2A6-43BB-8B85-940807987884}" destId="{88D65469-1E47-4878-87CA-F49260AB1537}" srcOrd="8" destOrd="0" parTransId="{E8DF206F-B217-4A7F-ABD0-EE0C67009FE3}" sibTransId="{8BE31E64-9014-400E-9B11-4E4C3C032997}"/>
    <dgm:cxn modelId="{B38F524F-F6BD-4D8C-8B25-E2ADBD42C47C}" type="presOf" srcId="{60B3CEAA-6526-4F9F-AFC8-371B6E34BDAB}" destId="{AC089D7D-CF93-4FD2-BA9F-1EED0D953510}" srcOrd="0" destOrd="0" presId="urn:microsoft.com/office/officeart/2008/layout/LinedList"/>
    <dgm:cxn modelId="{F0A5BB7D-9336-4D16-B7C2-27FFAD5882EF}" type="presOf" srcId="{311C52F4-E2A6-43BB-8B85-940807987884}" destId="{90C38840-F6DA-4B15-BF7D-AF57FD138F64}" srcOrd="0" destOrd="0" presId="urn:microsoft.com/office/officeart/2008/layout/LinedList"/>
    <dgm:cxn modelId="{213D8180-E66D-4EB3-9A89-113C493DEDB0}" type="presOf" srcId="{71776D91-FF32-4A2F-A6D1-0CBF3B8F5561}" destId="{456CD534-1D90-451B-B242-846092421D6D}" srcOrd="0" destOrd="0" presId="urn:microsoft.com/office/officeart/2008/layout/LinedList"/>
    <dgm:cxn modelId="{8B94B687-5DAE-4A25-B3B7-EB0C526769C3}" srcId="{311C52F4-E2A6-43BB-8B85-940807987884}" destId="{445F2F54-F9B9-464E-9407-346D114C37CC}" srcOrd="9" destOrd="0" parTransId="{AC9735AF-6708-4FDF-964F-CFE0E5B375EE}" sibTransId="{DB43E4BE-6040-4C33-9001-4A018B49E24F}"/>
    <dgm:cxn modelId="{DBEDA788-430E-4F34-829A-423AD1C54628}" srcId="{311C52F4-E2A6-43BB-8B85-940807987884}" destId="{B5D1E8F3-C949-4DCB-8EDF-B8EC8BF02049}" srcOrd="11" destOrd="0" parTransId="{9FCCCA2D-E38C-4445-BB1F-F357AFB66F08}" sibTransId="{90069487-E724-42E2-B681-E2DA2039EDC8}"/>
    <dgm:cxn modelId="{507AB98F-E1F9-49BB-906F-BA187EF6AF93}" srcId="{311C52F4-E2A6-43BB-8B85-940807987884}" destId="{0ADBFA6E-18BF-4476-803F-7A8D65F82556}" srcOrd="7" destOrd="0" parTransId="{9A3E56EA-51FB-444D-A7A7-9C450B769342}" sibTransId="{0036E42C-01B5-43AC-A409-766B5F8D9FF7}"/>
    <dgm:cxn modelId="{F32F57A0-5D3B-43CF-B50C-08169C73904F}" type="presOf" srcId="{57220EE2-F05C-455C-92D0-F77287161B48}" destId="{C86F2C1B-2D3B-4879-AE9F-213C70FCB66F}" srcOrd="0" destOrd="0" presId="urn:microsoft.com/office/officeart/2008/layout/LinedList"/>
    <dgm:cxn modelId="{CD2550AE-2128-4DE0-8B75-E0AFF2993C36}" type="presOf" srcId="{904C8F1F-D6CA-46B2-983D-6A2E351D43C7}" destId="{BF82B72D-A957-43F3-92BB-B010F16E3D36}" srcOrd="0" destOrd="0" presId="urn:microsoft.com/office/officeart/2008/layout/LinedList"/>
    <dgm:cxn modelId="{06DDECAE-414E-48C3-9D67-8F5D5EE91701}" srcId="{311C52F4-E2A6-43BB-8B85-940807987884}" destId="{BB7DA02E-E517-4EE5-AEA7-A13B379BE4A5}" srcOrd="1" destOrd="0" parTransId="{1466A4FA-3A3D-485A-ABDA-8B4E9FA2C2E1}" sibTransId="{498AED54-0111-4909-90B9-C672646F664D}"/>
    <dgm:cxn modelId="{14A010B8-7EFA-43BD-A84C-ABA77F7B1E03}" type="presOf" srcId="{11DC502B-0718-4D2F-A5E9-8EDAC1B76D35}" destId="{DB64D356-55DD-4D54-8146-C37FFE150EEA}" srcOrd="0" destOrd="0" presId="urn:microsoft.com/office/officeart/2008/layout/LinedList"/>
    <dgm:cxn modelId="{599E11BC-CC65-4AC2-A5D8-D02227029C65}" srcId="{311C52F4-E2A6-43BB-8B85-940807987884}" destId="{57220EE2-F05C-455C-92D0-F77287161B48}" srcOrd="10" destOrd="0" parTransId="{8AEFE465-986F-4DEF-BF0E-4A3F44AA9BC3}" sibTransId="{C30DA572-0F45-4661-8B7D-75A835311809}"/>
    <dgm:cxn modelId="{586F79BD-7444-4723-AC45-DDD5DC3C1FC9}" srcId="{311C52F4-E2A6-43BB-8B85-940807987884}" destId="{83DFAAB1-9DE1-4C20-B578-670F3120E15D}" srcOrd="15" destOrd="0" parTransId="{587A9CC3-677E-4899-96D2-1D84670A35DA}" sibTransId="{A2560A8C-0BC4-48D1-9312-49677D61FC24}"/>
    <dgm:cxn modelId="{C24EBBBD-51D0-4EB8-9DCC-49AD49C4FAC4}" srcId="{311C52F4-E2A6-43BB-8B85-940807987884}" destId="{904C8F1F-D6CA-46B2-983D-6A2E351D43C7}" srcOrd="2" destOrd="0" parTransId="{F9F1BF08-0718-49F2-9008-132A4616C980}" sibTransId="{8E4EAE57-D7BE-4FAA-AE64-BAD8CC9F42C8}"/>
    <dgm:cxn modelId="{FC7B3DD8-CF24-4F4C-9BE3-A8F55067A9C9}" type="presOf" srcId="{16941BDF-6B2A-4F23-8A31-7FE3050C02B0}" destId="{A57C2110-462D-472D-BA17-3F97043017A8}" srcOrd="0" destOrd="0" presId="urn:microsoft.com/office/officeart/2008/layout/LinedList"/>
    <dgm:cxn modelId="{74578FDC-E39C-4DEE-8018-68645BB145AD}" type="presOf" srcId="{E3D2925F-CDE0-4C88-97C0-5A59340C8D38}" destId="{A266113C-D01C-454F-B608-24A614AA1CA5}" srcOrd="0" destOrd="0" presId="urn:microsoft.com/office/officeart/2008/layout/LinedList"/>
    <dgm:cxn modelId="{96E5E4E1-D6EF-44DC-9C8A-1A666A2C951D}" type="presOf" srcId="{445F2F54-F9B9-464E-9407-346D114C37CC}" destId="{35583A45-9A6D-4A10-A2A6-A8E7EC7172E5}" srcOrd="0" destOrd="0" presId="urn:microsoft.com/office/officeart/2008/layout/LinedList"/>
    <dgm:cxn modelId="{279EC6EF-D3CA-466A-B9B8-9E651862A54B}" type="presOf" srcId="{95F33173-4810-47E2-834C-D9773AAEE097}" destId="{A76AB44F-4232-4A9B-AEBF-85B83C1CC9E1}" srcOrd="0" destOrd="0" presId="urn:microsoft.com/office/officeart/2008/layout/LinedList"/>
    <dgm:cxn modelId="{F8C45BF1-6013-43BE-ADF0-A0DACAA22C85}" srcId="{311C52F4-E2A6-43BB-8B85-940807987884}" destId="{499280DE-C97D-40E5-93DF-503509814596}" srcOrd="3" destOrd="0" parTransId="{2216FD49-1709-4277-843A-AE83DA5306D9}" sibTransId="{C1473B3E-E0AE-4CD9-8887-B9ABFD54BED9}"/>
    <dgm:cxn modelId="{4390A4F6-D42F-4D71-8FC9-665C292C8555}" srcId="{311C52F4-E2A6-43BB-8B85-940807987884}" destId="{11DC502B-0718-4D2F-A5E9-8EDAC1B76D35}" srcOrd="13" destOrd="0" parTransId="{5AEE2A2E-D6A6-4209-9150-DF0CE5966CEC}" sibTransId="{DE6C9287-BDEB-4E78-A72F-AAA7E3D2DAD0}"/>
    <dgm:cxn modelId="{91A8F4F6-63FD-48C1-8C17-C1AAF95819E0}" type="presOf" srcId="{B5D1E8F3-C949-4DCB-8EDF-B8EC8BF02049}" destId="{0E4E4016-7E8C-408B-A686-A8E1BCD4506D}" srcOrd="0" destOrd="0" presId="urn:microsoft.com/office/officeart/2008/layout/LinedList"/>
    <dgm:cxn modelId="{B9F6BFF7-975B-4071-BC41-52888D18243D}" type="presOf" srcId="{83DFAAB1-9DE1-4C20-B578-670F3120E15D}" destId="{2D35330D-E0B5-4D0E-8A8B-25B4E6666D46}" srcOrd="0" destOrd="0" presId="urn:microsoft.com/office/officeart/2008/layout/LinedList"/>
    <dgm:cxn modelId="{BCB382F8-DFE2-4DF7-89B3-C6342E676E31}" srcId="{311C52F4-E2A6-43BB-8B85-940807987884}" destId="{0933F751-5A5F-4F90-A282-1304CECB0A20}" srcOrd="14" destOrd="0" parTransId="{863B13C7-72E7-40FB-A7D1-1C6E065EBF1D}" sibTransId="{F48A6CAC-82FC-46AF-9B67-87F7B98D24B2}"/>
    <dgm:cxn modelId="{B7E4F9FB-8B08-4697-9FB5-0120B112DDF4}" type="presOf" srcId="{0ADBFA6E-18BF-4476-803F-7A8D65F82556}" destId="{08B1B8DE-E871-497A-9690-037009F5F175}" srcOrd="0" destOrd="0" presId="urn:microsoft.com/office/officeart/2008/layout/LinedList"/>
    <dgm:cxn modelId="{B884F153-410A-4B01-8B0C-584FAFC93B70}" type="presParOf" srcId="{A76AB44F-4232-4A9B-AEBF-85B83C1CC9E1}" destId="{AEDA5F68-DB38-4CBB-85E6-7C7C9768F978}" srcOrd="0" destOrd="0" presId="urn:microsoft.com/office/officeart/2008/layout/LinedList"/>
    <dgm:cxn modelId="{03454406-9492-4B51-82AC-44D193AB7ED3}" type="presParOf" srcId="{A76AB44F-4232-4A9B-AEBF-85B83C1CC9E1}" destId="{03A2C246-2D08-49D1-B4F6-5DBD027F0D11}" srcOrd="1" destOrd="0" presId="urn:microsoft.com/office/officeart/2008/layout/LinedList"/>
    <dgm:cxn modelId="{022E5678-41EE-4695-9DA5-5A9EDDFC29E4}" type="presParOf" srcId="{03A2C246-2D08-49D1-B4F6-5DBD027F0D11}" destId="{90C38840-F6DA-4B15-BF7D-AF57FD138F64}" srcOrd="0" destOrd="0" presId="urn:microsoft.com/office/officeart/2008/layout/LinedList"/>
    <dgm:cxn modelId="{0A47188F-FBB6-4FF6-9567-6AEC13ADB9F8}" type="presParOf" srcId="{03A2C246-2D08-49D1-B4F6-5DBD027F0D11}" destId="{31BCD210-338C-448F-BBA4-5CB0E93FAB76}" srcOrd="1" destOrd="0" presId="urn:microsoft.com/office/officeart/2008/layout/LinedList"/>
    <dgm:cxn modelId="{458A764F-29F8-489C-8D93-F3F16545E92F}" type="presParOf" srcId="{31BCD210-338C-448F-BBA4-5CB0E93FAB76}" destId="{70B5DD39-F0E6-4CCD-A976-9336E6EDA19B}" srcOrd="0" destOrd="0" presId="urn:microsoft.com/office/officeart/2008/layout/LinedList"/>
    <dgm:cxn modelId="{D6E053A1-B004-4586-A867-AAFFD837BD78}" type="presParOf" srcId="{31BCD210-338C-448F-BBA4-5CB0E93FAB76}" destId="{0296FAA2-AE4C-45CC-B57B-8F72A58ADA85}" srcOrd="1" destOrd="0" presId="urn:microsoft.com/office/officeart/2008/layout/LinedList"/>
    <dgm:cxn modelId="{539223C0-5B16-41D2-8FEC-C735518F3F6D}" type="presParOf" srcId="{0296FAA2-AE4C-45CC-B57B-8F72A58ADA85}" destId="{7AACAC38-353A-45A2-A6F4-AB83EBD72D04}" srcOrd="0" destOrd="0" presId="urn:microsoft.com/office/officeart/2008/layout/LinedList"/>
    <dgm:cxn modelId="{121F2519-4EC0-428B-B261-F1435C3B3E9D}" type="presParOf" srcId="{0296FAA2-AE4C-45CC-B57B-8F72A58ADA85}" destId="{AC089D7D-CF93-4FD2-BA9F-1EED0D953510}" srcOrd="1" destOrd="0" presId="urn:microsoft.com/office/officeart/2008/layout/LinedList"/>
    <dgm:cxn modelId="{348A9D89-9070-4D1F-AE41-9AC86F24C017}" type="presParOf" srcId="{0296FAA2-AE4C-45CC-B57B-8F72A58ADA85}" destId="{5928A09A-52C2-4FCA-819D-3E354B694261}" srcOrd="2" destOrd="0" presId="urn:microsoft.com/office/officeart/2008/layout/LinedList"/>
    <dgm:cxn modelId="{3AE3BBB9-C6F6-4DF3-AB6B-3B25D8A949A5}" type="presParOf" srcId="{31BCD210-338C-448F-BBA4-5CB0E93FAB76}" destId="{A32CE9FA-C2CB-4C6B-9FAE-461A308FEF09}" srcOrd="2" destOrd="0" presId="urn:microsoft.com/office/officeart/2008/layout/LinedList"/>
    <dgm:cxn modelId="{860B8E21-CD15-45E4-B33A-2D5687863F35}" type="presParOf" srcId="{31BCD210-338C-448F-BBA4-5CB0E93FAB76}" destId="{E21BB954-3E77-4FA9-93A8-84FE98208B32}" srcOrd="3" destOrd="0" presId="urn:microsoft.com/office/officeart/2008/layout/LinedList"/>
    <dgm:cxn modelId="{3572ECC3-D947-4997-AB53-2CEF2AF75A4A}" type="presParOf" srcId="{31BCD210-338C-448F-BBA4-5CB0E93FAB76}" destId="{190981D1-B1C9-40B1-8AAC-5502C48ACFE8}" srcOrd="4" destOrd="0" presId="urn:microsoft.com/office/officeart/2008/layout/LinedList"/>
    <dgm:cxn modelId="{D336C9FA-F111-41F1-A559-22173C237498}" type="presParOf" srcId="{190981D1-B1C9-40B1-8AAC-5502C48ACFE8}" destId="{73287DA4-4908-4E8B-A9FE-08BE2D0805DF}" srcOrd="0" destOrd="0" presId="urn:microsoft.com/office/officeart/2008/layout/LinedList"/>
    <dgm:cxn modelId="{8AA7A40E-FA58-41A6-B35B-E35CD3DD5C52}" type="presParOf" srcId="{190981D1-B1C9-40B1-8AAC-5502C48ACFE8}" destId="{ACD230D0-FFF4-4F83-9643-7EA2BC075469}" srcOrd="1" destOrd="0" presId="urn:microsoft.com/office/officeart/2008/layout/LinedList"/>
    <dgm:cxn modelId="{1E1AF8CD-36B9-4E85-AC8F-006956833FE6}" type="presParOf" srcId="{190981D1-B1C9-40B1-8AAC-5502C48ACFE8}" destId="{A61784A7-BE43-4615-B446-070B34878E46}" srcOrd="2" destOrd="0" presId="urn:microsoft.com/office/officeart/2008/layout/LinedList"/>
    <dgm:cxn modelId="{D1D29DAB-DB79-4CB7-B012-6E7003473E51}" type="presParOf" srcId="{31BCD210-338C-448F-BBA4-5CB0E93FAB76}" destId="{75B164C9-7B3F-4CAA-8BDE-8B04E56E05B1}" srcOrd="5" destOrd="0" presId="urn:microsoft.com/office/officeart/2008/layout/LinedList"/>
    <dgm:cxn modelId="{D46DCE02-68B0-46AC-95F0-0CB470AAF820}" type="presParOf" srcId="{31BCD210-338C-448F-BBA4-5CB0E93FAB76}" destId="{29C174D5-A046-4462-8037-C660B5C7CDE8}" srcOrd="6" destOrd="0" presId="urn:microsoft.com/office/officeart/2008/layout/LinedList"/>
    <dgm:cxn modelId="{2AAF3D37-2394-4C21-802F-F7A688DC9A8C}" type="presParOf" srcId="{31BCD210-338C-448F-BBA4-5CB0E93FAB76}" destId="{470DBE40-1B9B-4809-8AB0-471EAF9EE1DD}" srcOrd="7" destOrd="0" presId="urn:microsoft.com/office/officeart/2008/layout/LinedList"/>
    <dgm:cxn modelId="{549E5272-19F3-42FB-8FBC-478063F6F38E}" type="presParOf" srcId="{470DBE40-1B9B-4809-8AB0-471EAF9EE1DD}" destId="{74678753-528A-42C9-B59F-EF2DCAB13559}" srcOrd="0" destOrd="0" presId="urn:microsoft.com/office/officeart/2008/layout/LinedList"/>
    <dgm:cxn modelId="{68EB81E6-4AF4-4858-8D63-0D574E841D01}" type="presParOf" srcId="{470DBE40-1B9B-4809-8AB0-471EAF9EE1DD}" destId="{BF82B72D-A957-43F3-92BB-B010F16E3D36}" srcOrd="1" destOrd="0" presId="urn:microsoft.com/office/officeart/2008/layout/LinedList"/>
    <dgm:cxn modelId="{0C8C649A-13B7-417E-AC79-1C488AA04599}" type="presParOf" srcId="{470DBE40-1B9B-4809-8AB0-471EAF9EE1DD}" destId="{D1400BFD-46E1-4B38-BF30-533F19201A0A}" srcOrd="2" destOrd="0" presId="urn:microsoft.com/office/officeart/2008/layout/LinedList"/>
    <dgm:cxn modelId="{BB3F8C30-9F7F-4B31-AAA1-B6D86E2948BB}" type="presParOf" srcId="{31BCD210-338C-448F-BBA4-5CB0E93FAB76}" destId="{6352B019-5E33-4940-B043-FACB9F821A15}" srcOrd="8" destOrd="0" presId="urn:microsoft.com/office/officeart/2008/layout/LinedList"/>
    <dgm:cxn modelId="{600D5545-75D7-4A9C-99DE-078A318D7E29}" type="presParOf" srcId="{31BCD210-338C-448F-BBA4-5CB0E93FAB76}" destId="{D4C42D89-83E7-4AA4-9131-84FFC8583035}" srcOrd="9" destOrd="0" presId="urn:microsoft.com/office/officeart/2008/layout/LinedList"/>
    <dgm:cxn modelId="{15C64758-A91E-47DE-8DFB-C49BAEC8B588}" type="presParOf" srcId="{31BCD210-338C-448F-BBA4-5CB0E93FAB76}" destId="{4238EEC5-5830-4134-916B-028923DF85EE}" srcOrd="10" destOrd="0" presId="urn:microsoft.com/office/officeart/2008/layout/LinedList"/>
    <dgm:cxn modelId="{780D2C51-D9BB-4CDB-B7EE-585DB03BDFF7}" type="presParOf" srcId="{4238EEC5-5830-4134-916B-028923DF85EE}" destId="{8D981AEC-9055-492C-9C9B-7087535D1221}" srcOrd="0" destOrd="0" presId="urn:microsoft.com/office/officeart/2008/layout/LinedList"/>
    <dgm:cxn modelId="{B7633111-710C-47B8-9E31-8046D48C7258}" type="presParOf" srcId="{4238EEC5-5830-4134-916B-028923DF85EE}" destId="{BE46E154-A1A8-41F1-8E54-1EE6C27C18E4}" srcOrd="1" destOrd="0" presId="urn:microsoft.com/office/officeart/2008/layout/LinedList"/>
    <dgm:cxn modelId="{EF9F3732-66AE-4D78-A5F5-7E8F1A992F1D}" type="presParOf" srcId="{4238EEC5-5830-4134-916B-028923DF85EE}" destId="{944D918B-A0EA-4A4F-A48E-FEBD7554B6C4}" srcOrd="2" destOrd="0" presId="urn:microsoft.com/office/officeart/2008/layout/LinedList"/>
    <dgm:cxn modelId="{F1743CBB-47C9-4184-A1BB-84CF10ABCDFF}" type="presParOf" srcId="{31BCD210-338C-448F-BBA4-5CB0E93FAB76}" destId="{29FB5101-C34E-434D-B584-27B03120ED35}" srcOrd="11" destOrd="0" presId="urn:microsoft.com/office/officeart/2008/layout/LinedList"/>
    <dgm:cxn modelId="{29E0A087-6F31-4061-8D25-C7088520C0EE}" type="presParOf" srcId="{31BCD210-338C-448F-BBA4-5CB0E93FAB76}" destId="{C1FC5466-C847-408B-8819-2258E5EE9365}" srcOrd="12" destOrd="0" presId="urn:microsoft.com/office/officeart/2008/layout/LinedList"/>
    <dgm:cxn modelId="{7748730C-6215-4D62-A2FA-42241C469DA1}" type="presParOf" srcId="{31BCD210-338C-448F-BBA4-5CB0E93FAB76}" destId="{2683529D-715D-4910-AA72-A06A180D83D5}" srcOrd="13" destOrd="0" presId="urn:microsoft.com/office/officeart/2008/layout/LinedList"/>
    <dgm:cxn modelId="{7179D63D-DEFD-4F0A-B844-BA1B68269394}" type="presParOf" srcId="{2683529D-715D-4910-AA72-A06A180D83D5}" destId="{ED694447-ABBF-43C8-A275-ED4AC80C6653}" srcOrd="0" destOrd="0" presId="urn:microsoft.com/office/officeart/2008/layout/LinedList"/>
    <dgm:cxn modelId="{63B88F0A-7B64-40A6-A6AD-9CDC66A8F494}" type="presParOf" srcId="{2683529D-715D-4910-AA72-A06A180D83D5}" destId="{A266113C-D01C-454F-B608-24A614AA1CA5}" srcOrd="1" destOrd="0" presId="urn:microsoft.com/office/officeart/2008/layout/LinedList"/>
    <dgm:cxn modelId="{8E2F8B2A-B2C3-4262-A90A-C52F7328609B}" type="presParOf" srcId="{2683529D-715D-4910-AA72-A06A180D83D5}" destId="{2A3F5676-F1BB-43FD-9A1C-37438C0FCCFD}" srcOrd="2" destOrd="0" presId="urn:microsoft.com/office/officeart/2008/layout/LinedList"/>
    <dgm:cxn modelId="{689734E3-F026-4A9E-A2AC-6852E40EE201}" type="presParOf" srcId="{31BCD210-338C-448F-BBA4-5CB0E93FAB76}" destId="{7FE41DAE-B5DD-4A95-8B67-9E6839C8C95E}" srcOrd="14" destOrd="0" presId="urn:microsoft.com/office/officeart/2008/layout/LinedList"/>
    <dgm:cxn modelId="{E8794212-1F36-4BCB-9A3F-579BAFA6E476}" type="presParOf" srcId="{31BCD210-338C-448F-BBA4-5CB0E93FAB76}" destId="{9C65A940-77E2-495F-BB59-CF15ED04ADB8}" srcOrd="15" destOrd="0" presId="urn:microsoft.com/office/officeart/2008/layout/LinedList"/>
    <dgm:cxn modelId="{E6912DFD-B20C-44D2-B11D-AF099CB7EB6E}" type="presParOf" srcId="{31BCD210-338C-448F-BBA4-5CB0E93FAB76}" destId="{50E79312-A549-445A-86F4-8066C6156B2C}" srcOrd="16" destOrd="0" presId="urn:microsoft.com/office/officeart/2008/layout/LinedList"/>
    <dgm:cxn modelId="{1A1640C5-6818-4C84-A74E-459041BF1CBD}" type="presParOf" srcId="{50E79312-A549-445A-86F4-8066C6156B2C}" destId="{1C6F8C43-8EC9-488E-BDB6-41E7C2E34C01}" srcOrd="0" destOrd="0" presId="urn:microsoft.com/office/officeart/2008/layout/LinedList"/>
    <dgm:cxn modelId="{71128051-80F0-46CF-8250-BF1F36C9526D}" type="presParOf" srcId="{50E79312-A549-445A-86F4-8066C6156B2C}" destId="{A57C2110-462D-472D-BA17-3F97043017A8}" srcOrd="1" destOrd="0" presId="urn:microsoft.com/office/officeart/2008/layout/LinedList"/>
    <dgm:cxn modelId="{6193A0A8-BF4E-49FD-8526-184297D911F9}" type="presParOf" srcId="{50E79312-A549-445A-86F4-8066C6156B2C}" destId="{C434FB3B-F1AA-4798-BC4D-6D15FCBB0E68}" srcOrd="2" destOrd="0" presId="urn:microsoft.com/office/officeart/2008/layout/LinedList"/>
    <dgm:cxn modelId="{4F8CC773-909B-4E76-85C0-7E956DB0515B}" type="presParOf" srcId="{31BCD210-338C-448F-BBA4-5CB0E93FAB76}" destId="{AAD56D4D-45F3-4C30-A5DC-515783A926A2}" srcOrd="17" destOrd="0" presId="urn:microsoft.com/office/officeart/2008/layout/LinedList"/>
    <dgm:cxn modelId="{8D3196FF-5791-4E30-A747-67FFF0401827}" type="presParOf" srcId="{31BCD210-338C-448F-BBA4-5CB0E93FAB76}" destId="{CCDC5735-7481-4233-A32C-44182AA1860B}" srcOrd="18" destOrd="0" presId="urn:microsoft.com/office/officeart/2008/layout/LinedList"/>
    <dgm:cxn modelId="{BF01DCDD-CAA0-4536-9B8D-9E3AA8C78703}" type="presParOf" srcId="{31BCD210-338C-448F-BBA4-5CB0E93FAB76}" destId="{368A2896-023A-4017-AC08-9F8A6473A230}" srcOrd="19" destOrd="0" presId="urn:microsoft.com/office/officeart/2008/layout/LinedList"/>
    <dgm:cxn modelId="{8C23AB33-141B-493A-9BA8-FF3181DAC952}" type="presParOf" srcId="{368A2896-023A-4017-AC08-9F8A6473A230}" destId="{C8B26C78-7D69-4A58-9A1C-8C79424CFFFC}" srcOrd="0" destOrd="0" presId="urn:microsoft.com/office/officeart/2008/layout/LinedList"/>
    <dgm:cxn modelId="{1BE9F578-1E21-4D3D-80C7-BBF3A8A01F3B}" type="presParOf" srcId="{368A2896-023A-4017-AC08-9F8A6473A230}" destId="{456CD534-1D90-451B-B242-846092421D6D}" srcOrd="1" destOrd="0" presId="urn:microsoft.com/office/officeart/2008/layout/LinedList"/>
    <dgm:cxn modelId="{9A64FA40-2241-4548-99CD-B0640CE610A4}" type="presParOf" srcId="{368A2896-023A-4017-AC08-9F8A6473A230}" destId="{A58D505C-FEF9-441E-90E1-A8B39A2AC4F0}" srcOrd="2" destOrd="0" presId="urn:microsoft.com/office/officeart/2008/layout/LinedList"/>
    <dgm:cxn modelId="{FA447D64-B461-45C2-9CC3-64FE7C9CE853}" type="presParOf" srcId="{31BCD210-338C-448F-BBA4-5CB0E93FAB76}" destId="{693615FE-1FE4-4CBB-8BAD-203705657481}" srcOrd="20" destOrd="0" presId="urn:microsoft.com/office/officeart/2008/layout/LinedList"/>
    <dgm:cxn modelId="{E69C4910-221E-412F-9D41-0A22DA9D1543}" type="presParOf" srcId="{31BCD210-338C-448F-BBA4-5CB0E93FAB76}" destId="{67092582-4A29-43FA-954F-B338651AC4DE}" srcOrd="21" destOrd="0" presId="urn:microsoft.com/office/officeart/2008/layout/LinedList"/>
    <dgm:cxn modelId="{06E60850-A9DB-415E-BDD9-31C166F3B669}" type="presParOf" srcId="{31BCD210-338C-448F-BBA4-5CB0E93FAB76}" destId="{B487484B-ABD3-424A-8707-1C5F01680B11}" srcOrd="22" destOrd="0" presId="urn:microsoft.com/office/officeart/2008/layout/LinedList"/>
    <dgm:cxn modelId="{0104D935-A924-4590-90E6-0C3733BB03F6}" type="presParOf" srcId="{B487484B-ABD3-424A-8707-1C5F01680B11}" destId="{DF23F979-C31D-4512-881C-5D28812F6AA4}" srcOrd="0" destOrd="0" presId="urn:microsoft.com/office/officeart/2008/layout/LinedList"/>
    <dgm:cxn modelId="{19BDCDBB-0FA7-4111-8567-4C3F2A1BBF83}" type="presParOf" srcId="{B487484B-ABD3-424A-8707-1C5F01680B11}" destId="{08B1B8DE-E871-497A-9690-037009F5F175}" srcOrd="1" destOrd="0" presId="urn:microsoft.com/office/officeart/2008/layout/LinedList"/>
    <dgm:cxn modelId="{E03B034E-5FC1-4BDD-974F-5F2D9729AC86}" type="presParOf" srcId="{B487484B-ABD3-424A-8707-1C5F01680B11}" destId="{1C703C25-1315-4D9A-9FC1-2CFDBC7E5702}" srcOrd="2" destOrd="0" presId="urn:microsoft.com/office/officeart/2008/layout/LinedList"/>
    <dgm:cxn modelId="{E61D0465-772C-4252-8473-74B7C8A9E9E1}" type="presParOf" srcId="{31BCD210-338C-448F-BBA4-5CB0E93FAB76}" destId="{5C30380A-8D7B-4250-8217-2CE2C540B2BD}" srcOrd="23" destOrd="0" presId="urn:microsoft.com/office/officeart/2008/layout/LinedList"/>
    <dgm:cxn modelId="{FE5E77BF-C758-48F8-919B-B3E27E7D05F8}" type="presParOf" srcId="{31BCD210-338C-448F-BBA4-5CB0E93FAB76}" destId="{A10400E7-0D93-46F1-ADCE-511B0E9D96E3}" srcOrd="24" destOrd="0" presId="urn:microsoft.com/office/officeart/2008/layout/LinedList"/>
    <dgm:cxn modelId="{204F37EC-3B40-49C4-AC1D-B5A99FB27920}" type="presParOf" srcId="{31BCD210-338C-448F-BBA4-5CB0E93FAB76}" destId="{80DE269E-2F61-4876-A887-80869022EE9A}" srcOrd="25" destOrd="0" presId="urn:microsoft.com/office/officeart/2008/layout/LinedList"/>
    <dgm:cxn modelId="{6F9550FC-888D-4037-8F4B-40CE02E2C524}" type="presParOf" srcId="{80DE269E-2F61-4876-A887-80869022EE9A}" destId="{981F93BD-B940-407C-A715-12B988DE8616}" srcOrd="0" destOrd="0" presId="urn:microsoft.com/office/officeart/2008/layout/LinedList"/>
    <dgm:cxn modelId="{6F6CA856-DA68-4F9C-9AAF-546008A26505}" type="presParOf" srcId="{80DE269E-2F61-4876-A887-80869022EE9A}" destId="{1B5D6913-E199-4039-A20B-CA5F4755B9ED}" srcOrd="1" destOrd="0" presId="urn:microsoft.com/office/officeart/2008/layout/LinedList"/>
    <dgm:cxn modelId="{4DEEFE6F-F48C-4724-A3B0-AB367FC5122D}" type="presParOf" srcId="{80DE269E-2F61-4876-A887-80869022EE9A}" destId="{B93415AB-1E23-40DA-B49F-2E243F582BA5}" srcOrd="2" destOrd="0" presId="urn:microsoft.com/office/officeart/2008/layout/LinedList"/>
    <dgm:cxn modelId="{E76BBCBA-04FD-40F8-9FB2-7042D84E418C}" type="presParOf" srcId="{31BCD210-338C-448F-BBA4-5CB0E93FAB76}" destId="{4D870915-B8B4-4591-B866-F361B34BB9C0}" srcOrd="26" destOrd="0" presId="urn:microsoft.com/office/officeart/2008/layout/LinedList"/>
    <dgm:cxn modelId="{DE0C6B34-A23A-45F9-9755-26E4F15A609D}" type="presParOf" srcId="{31BCD210-338C-448F-BBA4-5CB0E93FAB76}" destId="{BA64682E-D91F-4B7B-A15E-DA1C8120648B}" srcOrd="27" destOrd="0" presId="urn:microsoft.com/office/officeart/2008/layout/LinedList"/>
    <dgm:cxn modelId="{1DCDDD88-3D52-4539-9B15-038F5446FD83}" type="presParOf" srcId="{31BCD210-338C-448F-BBA4-5CB0E93FAB76}" destId="{A1F8282D-98DA-4A03-BD85-77FB907A49EC}" srcOrd="28" destOrd="0" presId="urn:microsoft.com/office/officeart/2008/layout/LinedList"/>
    <dgm:cxn modelId="{54E319CB-D771-4DBD-9772-239F673B6A72}" type="presParOf" srcId="{A1F8282D-98DA-4A03-BD85-77FB907A49EC}" destId="{B38B9349-D8FB-4A08-8E32-2D9C5697B792}" srcOrd="0" destOrd="0" presId="urn:microsoft.com/office/officeart/2008/layout/LinedList"/>
    <dgm:cxn modelId="{C556E543-5622-409D-8318-91F3A8DD6EDA}" type="presParOf" srcId="{A1F8282D-98DA-4A03-BD85-77FB907A49EC}" destId="{35583A45-9A6D-4A10-A2A6-A8E7EC7172E5}" srcOrd="1" destOrd="0" presId="urn:microsoft.com/office/officeart/2008/layout/LinedList"/>
    <dgm:cxn modelId="{54D82000-90EC-4DFD-ADC5-C04C38AA45EB}" type="presParOf" srcId="{A1F8282D-98DA-4A03-BD85-77FB907A49EC}" destId="{480399E8-BEFE-4CAB-AD93-D07260293A02}" srcOrd="2" destOrd="0" presId="urn:microsoft.com/office/officeart/2008/layout/LinedList"/>
    <dgm:cxn modelId="{55D2C8E4-95D8-44CB-914B-9322E7764594}" type="presParOf" srcId="{31BCD210-338C-448F-BBA4-5CB0E93FAB76}" destId="{AC7BB51E-06C6-4833-81A5-41B0038DA01C}" srcOrd="29" destOrd="0" presId="urn:microsoft.com/office/officeart/2008/layout/LinedList"/>
    <dgm:cxn modelId="{E9EFCB25-A0F9-4309-9ABC-5AD260D9A20B}" type="presParOf" srcId="{31BCD210-338C-448F-BBA4-5CB0E93FAB76}" destId="{B22088F7-0255-433F-8811-6E7C095A471A}" srcOrd="30" destOrd="0" presId="urn:microsoft.com/office/officeart/2008/layout/LinedList"/>
    <dgm:cxn modelId="{4AEA5F2C-9251-4FF5-995F-FE81357EA734}" type="presParOf" srcId="{31BCD210-338C-448F-BBA4-5CB0E93FAB76}" destId="{0361A772-926B-489F-A996-C9609154420F}" srcOrd="31" destOrd="0" presId="urn:microsoft.com/office/officeart/2008/layout/LinedList"/>
    <dgm:cxn modelId="{B5C25270-7112-485D-9BF0-C7F2C717C452}" type="presParOf" srcId="{0361A772-926B-489F-A996-C9609154420F}" destId="{F0AE170B-AEB0-44E0-AF77-4D707B1D9D10}" srcOrd="0" destOrd="0" presId="urn:microsoft.com/office/officeart/2008/layout/LinedList"/>
    <dgm:cxn modelId="{D6CB4BD9-20D2-4253-912D-838B678BF9C9}" type="presParOf" srcId="{0361A772-926B-489F-A996-C9609154420F}" destId="{C86F2C1B-2D3B-4879-AE9F-213C70FCB66F}" srcOrd="1" destOrd="0" presId="urn:microsoft.com/office/officeart/2008/layout/LinedList"/>
    <dgm:cxn modelId="{6A8613BA-B789-49BA-843E-CC60B9D75343}" type="presParOf" srcId="{0361A772-926B-489F-A996-C9609154420F}" destId="{BB6C5347-235B-424A-ACC2-4474601A9FF9}" srcOrd="2" destOrd="0" presId="urn:microsoft.com/office/officeart/2008/layout/LinedList"/>
    <dgm:cxn modelId="{881BE8A1-F994-4981-B9CE-43C6DDB68B0E}" type="presParOf" srcId="{31BCD210-338C-448F-BBA4-5CB0E93FAB76}" destId="{E3DDFE8F-7B87-4A81-B86A-A773EED95464}" srcOrd="32" destOrd="0" presId="urn:microsoft.com/office/officeart/2008/layout/LinedList"/>
    <dgm:cxn modelId="{1AA3E503-5315-450C-9EC0-ADE7E08FDF31}" type="presParOf" srcId="{31BCD210-338C-448F-BBA4-5CB0E93FAB76}" destId="{32911EC1-6098-4A89-87F3-456466E0338C}" srcOrd="33" destOrd="0" presId="urn:microsoft.com/office/officeart/2008/layout/LinedList"/>
    <dgm:cxn modelId="{C9BEBDFA-1BB1-49D6-97C3-3C1FC972F901}" type="presParOf" srcId="{31BCD210-338C-448F-BBA4-5CB0E93FAB76}" destId="{D9E5B1CA-A00E-4DA7-9F4B-1A03262B9A5B}" srcOrd="34" destOrd="0" presId="urn:microsoft.com/office/officeart/2008/layout/LinedList"/>
    <dgm:cxn modelId="{EDE86C42-5E78-47FF-BF99-3257464A6800}" type="presParOf" srcId="{D9E5B1CA-A00E-4DA7-9F4B-1A03262B9A5B}" destId="{7DCB0F95-454B-405A-842A-E00B8DF2A6EC}" srcOrd="0" destOrd="0" presId="urn:microsoft.com/office/officeart/2008/layout/LinedList"/>
    <dgm:cxn modelId="{DEEF5285-03DD-440D-9F5E-1E4B315EE483}" type="presParOf" srcId="{D9E5B1CA-A00E-4DA7-9F4B-1A03262B9A5B}" destId="{0E4E4016-7E8C-408B-A686-A8E1BCD4506D}" srcOrd="1" destOrd="0" presId="urn:microsoft.com/office/officeart/2008/layout/LinedList"/>
    <dgm:cxn modelId="{B81A657B-3BF0-4F83-BF3A-C8D2EE37B264}" type="presParOf" srcId="{D9E5B1CA-A00E-4DA7-9F4B-1A03262B9A5B}" destId="{8E19583A-440A-4D6E-A8A2-41FD21E8485D}" srcOrd="2" destOrd="0" presId="urn:microsoft.com/office/officeart/2008/layout/LinedList"/>
    <dgm:cxn modelId="{8101EAE8-3155-490A-BF74-6FB9CD65A2EE}" type="presParOf" srcId="{31BCD210-338C-448F-BBA4-5CB0E93FAB76}" destId="{45EE0D7F-6306-4B79-BAF5-563F5CBC8B64}" srcOrd="35" destOrd="0" presId="urn:microsoft.com/office/officeart/2008/layout/LinedList"/>
    <dgm:cxn modelId="{ED5BEFEF-3416-4AFF-8581-CB9AF6425A9E}" type="presParOf" srcId="{31BCD210-338C-448F-BBA4-5CB0E93FAB76}" destId="{04654A8D-5C8E-4512-B571-E897F90DA7E0}" srcOrd="36" destOrd="0" presId="urn:microsoft.com/office/officeart/2008/layout/LinedList"/>
    <dgm:cxn modelId="{3E8AE3D7-EEE2-4CD2-99C7-420DA7F7E498}" type="presParOf" srcId="{31BCD210-338C-448F-BBA4-5CB0E93FAB76}" destId="{8437384F-0A5F-446B-9021-A85A33249FB8}" srcOrd="37" destOrd="0" presId="urn:microsoft.com/office/officeart/2008/layout/LinedList"/>
    <dgm:cxn modelId="{B5BCA2F2-D069-4EFF-A2A7-93F1776AE360}" type="presParOf" srcId="{8437384F-0A5F-446B-9021-A85A33249FB8}" destId="{5EF1AFDA-2430-46B0-B4ED-905D500A3663}" srcOrd="0" destOrd="0" presId="urn:microsoft.com/office/officeart/2008/layout/LinedList"/>
    <dgm:cxn modelId="{22357B46-FC47-4316-A5D4-63DBA41A096B}" type="presParOf" srcId="{8437384F-0A5F-446B-9021-A85A33249FB8}" destId="{B42C7542-EC28-4D81-8500-63D2F65BF284}" srcOrd="1" destOrd="0" presId="urn:microsoft.com/office/officeart/2008/layout/LinedList"/>
    <dgm:cxn modelId="{06738BB9-2D60-4FC2-87F7-60BF60B55118}" type="presParOf" srcId="{8437384F-0A5F-446B-9021-A85A33249FB8}" destId="{0AFB59DC-A2F1-40B8-9F04-0D5AAA1DB7F2}" srcOrd="2" destOrd="0" presId="urn:microsoft.com/office/officeart/2008/layout/LinedList"/>
    <dgm:cxn modelId="{185BD9DF-F1E5-492B-9199-8017CBFBF15F}" type="presParOf" srcId="{31BCD210-338C-448F-BBA4-5CB0E93FAB76}" destId="{8D22B8BA-B4A0-4183-B08F-28001A2B6636}" srcOrd="38" destOrd="0" presId="urn:microsoft.com/office/officeart/2008/layout/LinedList"/>
    <dgm:cxn modelId="{44ADBAE9-FF85-4078-AAB1-365E0A845269}" type="presParOf" srcId="{31BCD210-338C-448F-BBA4-5CB0E93FAB76}" destId="{6F242872-5467-4C65-AE61-D64FF48A5707}" srcOrd="39" destOrd="0" presId="urn:microsoft.com/office/officeart/2008/layout/LinedList"/>
    <dgm:cxn modelId="{B0905D7B-53C7-4AA3-A72A-6E74DD27A973}" type="presParOf" srcId="{31BCD210-338C-448F-BBA4-5CB0E93FAB76}" destId="{CB7E1EB3-28FB-414B-9864-0B86E1B69C23}" srcOrd="40" destOrd="0" presId="urn:microsoft.com/office/officeart/2008/layout/LinedList"/>
    <dgm:cxn modelId="{EA6E1384-20AB-4F4F-90D5-AE9808DD539D}" type="presParOf" srcId="{CB7E1EB3-28FB-414B-9864-0B86E1B69C23}" destId="{5A9188A4-2A62-4B47-A740-7663528D6FE7}" srcOrd="0" destOrd="0" presId="urn:microsoft.com/office/officeart/2008/layout/LinedList"/>
    <dgm:cxn modelId="{5715232F-3308-49C8-9935-1806B372807F}" type="presParOf" srcId="{CB7E1EB3-28FB-414B-9864-0B86E1B69C23}" destId="{DB64D356-55DD-4D54-8146-C37FFE150EEA}" srcOrd="1" destOrd="0" presId="urn:microsoft.com/office/officeart/2008/layout/LinedList"/>
    <dgm:cxn modelId="{06345892-A8FB-4086-8B17-C168F8091319}" type="presParOf" srcId="{CB7E1EB3-28FB-414B-9864-0B86E1B69C23}" destId="{C93EF402-E55E-48CA-9305-993459FADA69}" srcOrd="2" destOrd="0" presId="urn:microsoft.com/office/officeart/2008/layout/LinedList"/>
    <dgm:cxn modelId="{01DCF1B8-895B-466C-9B6B-9A7A7234FFC2}" type="presParOf" srcId="{31BCD210-338C-448F-BBA4-5CB0E93FAB76}" destId="{0188A1DD-8A12-4846-825B-A9BD80E610E9}" srcOrd="41" destOrd="0" presId="urn:microsoft.com/office/officeart/2008/layout/LinedList"/>
    <dgm:cxn modelId="{D5DCF68F-FE64-467C-AE02-4973CEF10029}" type="presParOf" srcId="{31BCD210-338C-448F-BBA4-5CB0E93FAB76}" destId="{FF08BA36-B119-4499-BEF6-AF84A0A5824B}" srcOrd="42" destOrd="0" presId="urn:microsoft.com/office/officeart/2008/layout/LinedList"/>
    <dgm:cxn modelId="{9000D2BD-9ACB-4E0C-9378-D91D3FDD90A5}" type="presParOf" srcId="{31BCD210-338C-448F-BBA4-5CB0E93FAB76}" destId="{AC0238CA-68E6-458A-BE52-08129F6BDC69}" srcOrd="43" destOrd="0" presId="urn:microsoft.com/office/officeart/2008/layout/LinedList"/>
    <dgm:cxn modelId="{F77B9502-20ED-4A56-BD38-7733EED6F6EB}" type="presParOf" srcId="{AC0238CA-68E6-458A-BE52-08129F6BDC69}" destId="{251B40F5-7C08-4986-B4C2-C2F54A128E2B}" srcOrd="0" destOrd="0" presId="urn:microsoft.com/office/officeart/2008/layout/LinedList"/>
    <dgm:cxn modelId="{B052D8C4-C53C-4B66-B7A2-0C27FCCFF0B9}" type="presParOf" srcId="{AC0238CA-68E6-458A-BE52-08129F6BDC69}" destId="{65E09B91-D9B3-4395-B3DA-2F44B903E33D}" srcOrd="1" destOrd="0" presId="urn:microsoft.com/office/officeart/2008/layout/LinedList"/>
    <dgm:cxn modelId="{DCCBC2DE-54A1-45D0-8716-FB948150AE56}" type="presParOf" srcId="{AC0238CA-68E6-458A-BE52-08129F6BDC69}" destId="{64FE0328-7ECE-4A41-81FD-92BA09EE0944}" srcOrd="2" destOrd="0" presId="urn:microsoft.com/office/officeart/2008/layout/LinedList"/>
    <dgm:cxn modelId="{4C042B9A-AEB0-4E72-92DF-0B26C9EC1C11}" type="presParOf" srcId="{31BCD210-338C-448F-BBA4-5CB0E93FAB76}" destId="{CECF0841-54CE-4DFB-95E8-C87BA9CBD1EB}" srcOrd="44" destOrd="0" presId="urn:microsoft.com/office/officeart/2008/layout/LinedList"/>
    <dgm:cxn modelId="{07D5872A-C28B-4B79-86EC-756EF5636CCC}" type="presParOf" srcId="{31BCD210-338C-448F-BBA4-5CB0E93FAB76}" destId="{9EFC3F19-E639-423B-92DB-1EB36788E551}" srcOrd="45" destOrd="0" presId="urn:microsoft.com/office/officeart/2008/layout/LinedList"/>
    <dgm:cxn modelId="{66EB6931-A5C3-42DB-A15D-DF5AA356D87D}" type="presParOf" srcId="{31BCD210-338C-448F-BBA4-5CB0E93FAB76}" destId="{8AD04E3A-F569-4DC0-A756-5EA2DE565310}" srcOrd="46" destOrd="0" presId="urn:microsoft.com/office/officeart/2008/layout/LinedList"/>
    <dgm:cxn modelId="{23475707-F513-454E-A4AB-9D33AEAA6776}" type="presParOf" srcId="{8AD04E3A-F569-4DC0-A756-5EA2DE565310}" destId="{6E3FCD69-3B7E-42C3-A1FD-DBECCEBB1C6E}" srcOrd="0" destOrd="0" presId="urn:microsoft.com/office/officeart/2008/layout/LinedList"/>
    <dgm:cxn modelId="{F42240F0-9428-44FB-B9BF-71756DBA9797}" type="presParOf" srcId="{8AD04E3A-F569-4DC0-A756-5EA2DE565310}" destId="{2D35330D-E0B5-4D0E-8A8B-25B4E6666D46}" srcOrd="1" destOrd="0" presId="urn:microsoft.com/office/officeart/2008/layout/LinedList"/>
    <dgm:cxn modelId="{1D4AAE6C-238C-488A-9D31-F54BF590D7FF}" type="presParOf" srcId="{8AD04E3A-F569-4DC0-A756-5EA2DE565310}" destId="{FD9E9281-2B4E-4A69-B276-9BDAA7B57C1C}" srcOrd="2" destOrd="0" presId="urn:microsoft.com/office/officeart/2008/layout/LinedList"/>
    <dgm:cxn modelId="{1FF52B98-1B68-4791-AC4B-4BE3D9150B19}" type="presParOf" srcId="{31BCD210-338C-448F-BBA4-5CB0E93FAB76}" destId="{E34AA8E0-28F4-4AD9-A916-75294B6038A1}" srcOrd="47" destOrd="0" presId="urn:microsoft.com/office/officeart/2008/layout/LinedList"/>
    <dgm:cxn modelId="{CC980DF4-E130-4BC5-8829-C4938845069C}" type="presParOf" srcId="{31BCD210-338C-448F-BBA4-5CB0E93FAB76}" destId="{FA6F3BD3-B07D-4554-BF0C-35BAA818B0C8}" srcOrd="4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C13ED3-D3A0-4315-9D5D-85BABA27B016}">
      <dsp:nvSpPr>
        <dsp:cNvPr id="0" name=""/>
        <dsp:cNvSpPr/>
      </dsp:nvSpPr>
      <dsp:spPr>
        <a:xfrm>
          <a:off x="0" y="0"/>
          <a:ext cx="2858513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A71D56-85DF-4D54-9B21-A3D3F455259B}">
      <dsp:nvSpPr>
        <dsp:cNvPr id="0" name=""/>
        <dsp:cNvSpPr/>
      </dsp:nvSpPr>
      <dsp:spPr>
        <a:xfrm>
          <a:off x="0" y="0"/>
          <a:ext cx="571702" cy="26532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Data Types Supported</a:t>
          </a:r>
        </a:p>
      </dsp:txBody>
      <dsp:txXfrm>
        <a:off x="0" y="0"/>
        <a:ext cx="571702" cy="2653218"/>
      </dsp:txXfrm>
    </dsp:sp>
    <dsp:sp modelId="{F74AB7C3-C0CE-42A8-ADCD-E354E108D765}">
      <dsp:nvSpPr>
        <dsp:cNvPr id="0" name=""/>
        <dsp:cNvSpPr/>
      </dsp:nvSpPr>
      <dsp:spPr>
        <a:xfrm>
          <a:off x="614580" y="31189"/>
          <a:ext cx="2243932" cy="623791"/>
        </a:xfrm>
        <a:prstGeom prst="borderCallout2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Boolean</a:t>
          </a:r>
        </a:p>
      </dsp:txBody>
      <dsp:txXfrm>
        <a:off x="614580" y="31189"/>
        <a:ext cx="2243932" cy="623791"/>
      </dsp:txXfrm>
    </dsp:sp>
    <dsp:sp modelId="{169FBE19-E715-439E-AEA0-F69EAD6D0374}">
      <dsp:nvSpPr>
        <dsp:cNvPr id="0" name=""/>
        <dsp:cNvSpPr/>
      </dsp:nvSpPr>
      <dsp:spPr>
        <a:xfrm>
          <a:off x="571702" y="654980"/>
          <a:ext cx="22868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98FA18-6FD4-4F43-8879-7E667836F0B2}">
      <dsp:nvSpPr>
        <dsp:cNvPr id="0" name=""/>
        <dsp:cNvSpPr/>
      </dsp:nvSpPr>
      <dsp:spPr>
        <a:xfrm>
          <a:off x="614580" y="686170"/>
          <a:ext cx="2243932" cy="623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Integer</a:t>
          </a:r>
        </a:p>
      </dsp:txBody>
      <dsp:txXfrm>
        <a:off x="614580" y="686170"/>
        <a:ext cx="2243932" cy="623791"/>
      </dsp:txXfrm>
    </dsp:sp>
    <dsp:sp modelId="{18BC2190-48FF-48B9-9C3F-5331CFE4C0E1}">
      <dsp:nvSpPr>
        <dsp:cNvPr id="0" name=""/>
        <dsp:cNvSpPr/>
      </dsp:nvSpPr>
      <dsp:spPr>
        <a:xfrm>
          <a:off x="571702" y="1309961"/>
          <a:ext cx="22868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ED0FCB-A21F-4819-891A-27814A2F2B73}">
      <dsp:nvSpPr>
        <dsp:cNvPr id="0" name=""/>
        <dsp:cNvSpPr/>
      </dsp:nvSpPr>
      <dsp:spPr>
        <a:xfrm>
          <a:off x="614580" y="1341151"/>
          <a:ext cx="2243932" cy="623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Float</a:t>
          </a:r>
        </a:p>
      </dsp:txBody>
      <dsp:txXfrm>
        <a:off x="614580" y="1341151"/>
        <a:ext cx="2243932" cy="623791"/>
      </dsp:txXfrm>
    </dsp:sp>
    <dsp:sp modelId="{F0EBC1F2-5A41-4D12-9455-7A5C54330513}">
      <dsp:nvSpPr>
        <dsp:cNvPr id="0" name=""/>
        <dsp:cNvSpPr/>
      </dsp:nvSpPr>
      <dsp:spPr>
        <a:xfrm>
          <a:off x="571702" y="1964942"/>
          <a:ext cx="22868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D6F35A-ED80-46BA-A77B-3FB906F59183}">
      <dsp:nvSpPr>
        <dsp:cNvPr id="0" name=""/>
        <dsp:cNvSpPr/>
      </dsp:nvSpPr>
      <dsp:spPr>
        <a:xfrm>
          <a:off x="614580" y="1996131"/>
          <a:ext cx="2243932" cy="623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Long</a:t>
          </a:r>
        </a:p>
      </dsp:txBody>
      <dsp:txXfrm>
        <a:off x="614580" y="1996131"/>
        <a:ext cx="2243932" cy="623791"/>
      </dsp:txXfrm>
    </dsp:sp>
    <dsp:sp modelId="{449DB954-DAAE-429F-84F9-21EB5265CA96}">
      <dsp:nvSpPr>
        <dsp:cNvPr id="0" name=""/>
        <dsp:cNvSpPr/>
      </dsp:nvSpPr>
      <dsp:spPr>
        <a:xfrm>
          <a:off x="571702" y="2619923"/>
          <a:ext cx="22868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DA5F68-DB38-4CBB-85E6-7C7C9768F978}">
      <dsp:nvSpPr>
        <dsp:cNvPr id="0" name=""/>
        <dsp:cNvSpPr/>
      </dsp:nvSpPr>
      <dsp:spPr>
        <a:xfrm>
          <a:off x="0" y="0"/>
          <a:ext cx="22909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C38840-F6DA-4B15-BF7D-AF57FD138F64}">
      <dsp:nvSpPr>
        <dsp:cNvPr id="0" name=""/>
        <dsp:cNvSpPr/>
      </dsp:nvSpPr>
      <dsp:spPr>
        <a:xfrm>
          <a:off x="0" y="0"/>
          <a:ext cx="458182" cy="29829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t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Data Types Supported</a:t>
          </a:r>
        </a:p>
      </dsp:txBody>
      <dsp:txXfrm>
        <a:off x="0" y="0"/>
        <a:ext cx="458182" cy="2982978"/>
      </dsp:txXfrm>
    </dsp:sp>
    <dsp:sp modelId="{AC089D7D-CF93-4FD2-BA9F-1EED0D953510}">
      <dsp:nvSpPr>
        <dsp:cNvPr id="0" name=""/>
        <dsp:cNvSpPr/>
      </dsp:nvSpPr>
      <dsp:spPr>
        <a:xfrm>
          <a:off x="492545" y="8848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Boolean</a:t>
          </a:r>
        </a:p>
      </dsp:txBody>
      <dsp:txXfrm>
        <a:off x="492545" y="8848"/>
        <a:ext cx="1798364" cy="176968"/>
      </dsp:txXfrm>
    </dsp:sp>
    <dsp:sp modelId="{A32CE9FA-C2CB-4C6B-9FAE-461A308FEF09}">
      <dsp:nvSpPr>
        <dsp:cNvPr id="0" name=""/>
        <dsp:cNvSpPr/>
      </dsp:nvSpPr>
      <dsp:spPr>
        <a:xfrm>
          <a:off x="458182" y="185817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D230D0-FFF4-4F83-9643-7EA2BC075469}">
      <dsp:nvSpPr>
        <dsp:cNvPr id="0" name=""/>
        <dsp:cNvSpPr/>
      </dsp:nvSpPr>
      <dsp:spPr>
        <a:xfrm>
          <a:off x="492545" y="194665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SINT</a:t>
          </a:r>
        </a:p>
      </dsp:txBody>
      <dsp:txXfrm>
        <a:off x="492545" y="194665"/>
        <a:ext cx="1798364" cy="176968"/>
      </dsp:txXfrm>
    </dsp:sp>
    <dsp:sp modelId="{75B164C9-7B3F-4CAA-8BDE-8B04E56E05B1}">
      <dsp:nvSpPr>
        <dsp:cNvPr id="0" name=""/>
        <dsp:cNvSpPr/>
      </dsp:nvSpPr>
      <dsp:spPr>
        <a:xfrm>
          <a:off x="458182" y="371634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82B72D-A957-43F3-92BB-B010F16E3D36}">
      <dsp:nvSpPr>
        <dsp:cNvPr id="0" name=""/>
        <dsp:cNvSpPr/>
      </dsp:nvSpPr>
      <dsp:spPr>
        <a:xfrm>
          <a:off x="492545" y="380482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SINT</a:t>
          </a:r>
        </a:p>
      </dsp:txBody>
      <dsp:txXfrm>
        <a:off x="492545" y="380482"/>
        <a:ext cx="1798364" cy="176968"/>
      </dsp:txXfrm>
    </dsp:sp>
    <dsp:sp modelId="{6352B019-5E33-4940-B043-FACB9F821A15}">
      <dsp:nvSpPr>
        <dsp:cNvPr id="0" name=""/>
        <dsp:cNvSpPr/>
      </dsp:nvSpPr>
      <dsp:spPr>
        <a:xfrm>
          <a:off x="458182" y="557451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46E154-A1A8-41F1-8E54-1EE6C27C18E4}">
      <dsp:nvSpPr>
        <dsp:cNvPr id="0" name=""/>
        <dsp:cNvSpPr/>
      </dsp:nvSpPr>
      <dsp:spPr>
        <a:xfrm>
          <a:off x="492545" y="566299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BYTE</a:t>
          </a:r>
        </a:p>
      </dsp:txBody>
      <dsp:txXfrm>
        <a:off x="492545" y="566299"/>
        <a:ext cx="1798364" cy="176968"/>
      </dsp:txXfrm>
    </dsp:sp>
    <dsp:sp modelId="{29FB5101-C34E-434D-B584-27B03120ED35}">
      <dsp:nvSpPr>
        <dsp:cNvPr id="0" name=""/>
        <dsp:cNvSpPr/>
      </dsp:nvSpPr>
      <dsp:spPr>
        <a:xfrm>
          <a:off x="458182" y="743268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66113C-D01C-454F-B608-24A614AA1CA5}">
      <dsp:nvSpPr>
        <dsp:cNvPr id="0" name=""/>
        <dsp:cNvSpPr/>
      </dsp:nvSpPr>
      <dsp:spPr>
        <a:xfrm>
          <a:off x="492545" y="752116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INT</a:t>
          </a:r>
        </a:p>
      </dsp:txBody>
      <dsp:txXfrm>
        <a:off x="492545" y="752116"/>
        <a:ext cx="1798364" cy="176968"/>
      </dsp:txXfrm>
    </dsp:sp>
    <dsp:sp modelId="{7FE41DAE-B5DD-4A95-8B67-9E6839C8C95E}">
      <dsp:nvSpPr>
        <dsp:cNvPr id="0" name=""/>
        <dsp:cNvSpPr/>
      </dsp:nvSpPr>
      <dsp:spPr>
        <a:xfrm>
          <a:off x="458182" y="929085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7C2110-462D-472D-BA17-3F97043017A8}">
      <dsp:nvSpPr>
        <dsp:cNvPr id="0" name=""/>
        <dsp:cNvSpPr/>
      </dsp:nvSpPr>
      <dsp:spPr>
        <a:xfrm>
          <a:off x="492545" y="937933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INT</a:t>
          </a:r>
        </a:p>
      </dsp:txBody>
      <dsp:txXfrm>
        <a:off x="492545" y="937933"/>
        <a:ext cx="1798364" cy="176968"/>
      </dsp:txXfrm>
    </dsp:sp>
    <dsp:sp modelId="{AAD56D4D-45F3-4C30-A5DC-515783A926A2}">
      <dsp:nvSpPr>
        <dsp:cNvPr id="0" name=""/>
        <dsp:cNvSpPr/>
      </dsp:nvSpPr>
      <dsp:spPr>
        <a:xfrm>
          <a:off x="458182" y="1114902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6CD534-1D90-451B-B242-846092421D6D}">
      <dsp:nvSpPr>
        <dsp:cNvPr id="0" name=""/>
        <dsp:cNvSpPr/>
      </dsp:nvSpPr>
      <dsp:spPr>
        <a:xfrm>
          <a:off x="492545" y="1123751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WORD</a:t>
          </a:r>
        </a:p>
      </dsp:txBody>
      <dsp:txXfrm>
        <a:off x="492545" y="1123751"/>
        <a:ext cx="1798364" cy="176968"/>
      </dsp:txXfrm>
    </dsp:sp>
    <dsp:sp modelId="{693615FE-1FE4-4CBB-8BAD-203705657481}">
      <dsp:nvSpPr>
        <dsp:cNvPr id="0" name=""/>
        <dsp:cNvSpPr/>
      </dsp:nvSpPr>
      <dsp:spPr>
        <a:xfrm>
          <a:off x="458182" y="1300719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B1B8DE-E871-497A-9690-037009F5F175}">
      <dsp:nvSpPr>
        <dsp:cNvPr id="0" name=""/>
        <dsp:cNvSpPr/>
      </dsp:nvSpPr>
      <dsp:spPr>
        <a:xfrm>
          <a:off x="492545" y="1309568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DINT</a:t>
          </a:r>
        </a:p>
      </dsp:txBody>
      <dsp:txXfrm>
        <a:off x="492545" y="1309568"/>
        <a:ext cx="1798364" cy="176968"/>
      </dsp:txXfrm>
    </dsp:sp>
    <dsp:sp modelId="{5C30380A-8D7B-4250-8217-2CE2C540B2BD}">
      <dsp:nvSpPr>
        <dsp:cNvPr id="0" name=""/>
        <dsp:cNvSpPr/>
      </dsp:nvSpPr>
      <dsp:spPr>
        <a:xfrm>
          <a:off x="458182" y="1486536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5D6913-E199-4039-A20B-CA5F4755B9ED}">
      <dsp:nvSpPr>
        <dsp:cNvPr id="0" name=""/>
        <dsp:cNvSpPr/>
      </dsp:nvSpPr>
      <dsp:spPr>
        <a:xfrm>
          <a:off x="492545" y="1495385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DWORD</a:t>
          </a:r>
        </a:p>
      </dsp:txBody>
      <dsp:txXfrm>
        <a:off x="492545" y="1495385"/>
        <a:ext cx="1798364" cy="176968"/>
      </dsp:txXfrm>
    </dsp:sp>
    <dsp:sp modelId="{4D870915-B8B4-4591-B866-F361B34BB9C0}">
      <dsp:nvSpPr>
        <dsp:cNvPr id="0" name=""/>
        <dsp:cNvSpPr/>
      </dsp:nvSpPr>
      <dsp:spPr>
        <a:xfrm>
          <a:off x="458182" y="1672353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583A45-9A6D-4A10-A2A6-A8E7EC7172E5}">
      <dsp:nvSpPr>
        <dsp:cNvPr id="0" name=""/>
        <dsp:cNvSpPr/>
      </dsp:nvSpPr>
      <dsp:spPr>
        <a:xfrm>
          <a:off x="492545" y="1681202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LINT</a:t>
          </a:r>
        </a:p>
      </dsp:txBody>
      <dsp:txXfrm>
        <a:off x="492545" y="1681202"/>
        <a:ext cx="1798364" cy="176968"/>
      </dsp:txXfrm>
    </dsp:sp>
    <dsp:sp modelId="{AC7BB51E-06C6-4833-81A5-41B0038DA01C}">
      <dsp:nvSpPr>
        <dsp:cNvPr id="0" name=""/>
        <dsp:cNvSpPr/>
      </dsp:nvSpPr>
      <dsp:spPr>
        <a:xfrm>
          <a:off x="458182" y="1858170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6F2C1B-2D3B-4879-AE9F-213C70FCB66F}">
      <dsp:nvSpPr>
        <dsp:cNvPr id="0" name=""/>
        <dsp:cNvSpPr/>
      </dsp:nvSpPr>
      <dsp:spPr>
        <a:xfrm>
          <a:off x="492545" y="1867019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LINT</a:t>
          </a:r>
        </a:p>
      </dsp:txBody>
      <dsp:txXfrm>
        <a:off x="492545" y="1867019"/>
        <a:ext cx="1798364" cy="176968"/>
      </dsp:txXfrm>
    </dsp:sp>
    <dsp:sp modelId="{E3DDFE8F-7B87-4A81-B86A-A773EED95464}">
      <dsp:nvSpPr>
        <dsp:cNvPr id="0" name=""/>
        <dsp:cNvSpPr/>
      </dsp:nvSpPr>
      <dsp:spPr>
        <a:xfrm>
          <a:off x="458182" y="2043988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E4016-7E8C-408B-A686-A8E1BCD4506D}">
      <dsp:nvSpPr>
        <dsp:cNvPr id="0" name=""/>
        <dsp:cNvSpPr/>
      </dsp:nvSpPr>
      <dsp:spPr>
        <a:xfrm>
          <a:off x="492545" y="2052836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LWORD</a:t>
          </a:r>
        </a:p>
      </dsp:txBody>
      <dsp:txXfrm>
        <a:off x="492545" y="2052836"/>
        <a:ext cx="1798364" cy="176968"/>
      </dsp:txXfrm>
    </dsp:sp>
    <dsp:sp modelId="{45EE0D7F-6306-4B79-BAF5-563F5CBC8B64}">
      <dsp:nvSpPr>
        <dsp:cNvPr id="0" name=""/>
        <dsp:cNvSpPr/>
      </dsp:nvSpPr>
      <dsp:spPr>
        <a:xfrm>
          <a:off x="458182" y="2229805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2C7542-EC28-4D81-8500-63D2F65BF284}">
      <dsp:nvSpPr>
        <dsp:cNvPr id="0" name=""/>
        <dsp:cNvSpPr/>
      </dsp:nvSpPr>
      <dsp:spPr>
        <a:xfrm>
          <a:off x="492545" y="2238653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REAL</a:t>
          </a:r>
        </a:p>
      </dsp:txBody>
      <dsp:txXfrm>
        <a:off x="492545" y="2238653"/>
        <a:ext cx="1798364" cy="176968"/>
      </dsp:txXfrm>
    </dsp:sp>
    <dsp:sp modelId="{8D22B8BA-B4A0-4183-B08F-28001A2B6636}">
      <dsp:nvSpPr>
        <dsp:cNvPr id="0" name=""/>
        <dsp:cNvSpPr/>
      </dsp:nvSpPr>
      <dsp:spPr>
        <a:xfrm>
          <a:off x="458182" y="2415622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64D356-55DD-4D54-8146-C37FFE150EEA}">
      <dsp:nvSpPr>
        <dsp:cNvPr id="0" name=""/>
        <dsp:cNvSpPr/>
      </dsp:nvSpPr>
      <dsp:spPr>
        <a:xfrm>
          <a:off x="492545" y="2424470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LREAL</a:t>
          </a:r>
        </a:p>
      </dsp:txBody>
      <dsp:txXfrm>
        <a:off x="492545" y="2424470"/>
        <a:ext cx="1798364" cy="176968"/>
      </dsp:txXfrm>
    </dsp:sp>
    <dsp:sp modelId="{0188A1DD-8A12-4846-825B-A9BD80E610E9}">
      <dsp:nvSpPr>
        <dsp:cNvPr id="0" name=""/>
        <dsp:cNvSpPr/>
      </dsp:nvSpPr>
      <dsp:spPr>
        <a:xfrm>
          <a:off x="458182" y="2601439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E09B91-D9B3-4395-B3DA-2F44B903E33D}">
      <dsp:nvSpPr>
        <dsp:cNvPr id="0" name=""/>
        <dsp:cNvSpPr/>
      </dsp:nvSpPr>
      <dsp:spPr>
        <a:xfrm>
          <a:off x="492545" y="2610287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TIME</a:t>
          </a:r>
        </a:p>
      </dsp:txBody>
      <dsp:txXfrm>
        <a:off x="492545" y="2610287"/>
        <a:ext cx="1798364" cy="176968"/>
      </dsp:txXfrm>
    </dsp:sp>
    <dsp:sp modelId="{CECF0841-54CE-4DFB-95E8-C87BA9CBD1EB}">
      <dsp:nvSpPr>
        <dsp:cNvPr id="0" name=""/>
        <dsp:cNvSpPr/>
      </dsp:nvSpPr>
      <dsp:spPr>
        <a:xfrm>
          <a:off x="458182" y="2787256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35330D-E0B5-4D0E-8A8B-25B4E6666D46}">
      <dsp:nvSpPr>
        <dsp:cNvPr id="0" name=""/>
        <dsp:cNvSpPr/>
      </dsp:nvSpPr>
      <dsp:spPr>
        <a:xfrm>
          <a:off x="492545" y="2796104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STRING</a:t>
          </a:r>
        </a:p>
      </dsp:txBody>
      <dsp:txXfrm>
        <a:off x="492545" y="2796104"/>
        <a:ext cx="1798364" cy="176968"/>
      </dsp:txXfrm>
    </dsp:sp>
    <dsp:sp modelId="{E34AA8E0-28F4-4AD9-A916-75294B6038A1}">
      <dsp:nvSpPr>
        <dsp:cNvPr id="0" name=""/>
        <dsp:cNvSpPr/>
      </dsp:nvSpPr>
      <dsp:spPr>
        <a:xfrm>
          <a:off x="458182" y="2973073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C13ED3-D3A0-4315-9D5D-85BABA27B016}">
      <dsp:nvSpPr>
        <dsp:cNvPr id="0" name=""/>
        <dsp:cNvSpPr/>
      </dsp:nvSpPr>
      <dsp:spPr>
        <a:xfrm>
          <a:off x="0" y="859"/>
          <a:ext cx="128077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A71D56-85DF-4D54-9B21-A3D3F455259B}">
      <dsp:nvSpPr>
        <dsp:cNvPr id="0" name=""/>
        <dsp:cNvSpPr/>
      </dsp:nvSpPr>
      <dsp:spPr>
        <a:xfrm>
          <a:off x="0" y="859"/>
          <a:ext cx="256154" cy="17594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t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" kern="1200"/>
            <a:t>Data Types Supported</a:t>
          </a:r>
        </a:p>
      </dsp:txBody>
      <dsp:txXfrm>
        <a:off x="0" y="859"/>
        <a:ext cx="256154" cy="1759429"/>
      </dsp:txXfrm>
    </dsp:sp>
    <dsp:sp modelId="{F74AB7C3-C0CE-42A8-ADCD-E354E108D765}">
      <dsp:nvSpPr>
        <dsp:cNvPr id="0" name=""/>
        <dsp:cNvSpPr/>
      </dsp:nvSpPr>
      <dsp:spPr>
        <a:xfrm>
          <a:off x="275365" y="21542"/>
          <a:ext cx="1005404" cy="413654"/>
        </a:xfrm>
        <a:prstGeom prst="borderCallout2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Boolean</a:t>
          </a:r>
        </a:p>
      </dsp:txBody>
      <dsp:txXfrm>
        <a:off x="275365" y="21542"/>
        <a:ext cx="1005404" cy="413654"/>
      </dsp:txXfrm>
    </dsp:sp>
    <dsp:sp modelId="{169FBE19-E715-439E-AEA0-F69EAD6D0374}">
      <dsp:nvSpPr>
        <dsp:cNvPr id="0" name=""/>
        <dsp:cNvSpPr/>
      </dsp:nvSpPr>
      <dsp:spPr>
        <a:xfrm>
          <a:off x="256153" y="435197"/>
          <a:ext cx="102461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98FA18-6FD4-4F43-8879-7E667836F0B2}">
      <dsp:nvSpPr>
        <dsp:cNvPr id="0" name=""/>
        <dsp:cNvSpPr/>
      </dsp:nvSpPr>
      <dsp:spPr>
        <a:xfrm>
          <a:off x="275365" y="455880"/>
          <a:ext cx="1005404" cy="4136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Integer</a:t>
          </a:r>
        </a:p>
      </dsp:txBody>
      <dsp:txXfrm>
        <a:off x="275365" y="455880"/>
        <a:ext cx="1005404" cy="413654"/>
      </dsp:txXfrm>
    </dsp:sp>
    <dsp:sp modelId="{18BC2190-48FF-48B9-9C3F-5331CFE4C0E1}">
      <dsp:nvSpPr>
        <dsp:cNvPr id="0" name=""/>
        <dsp:cNvSpPr/>
      </dsp:nvSpPr>
      <dsp:spPr>
        <a:xfrm>
          <a:off x="256153" y="869535"/>
          <a:ext cx="102461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ED0FCB-A21F-4819-891A-27814A2F2B73}">
      <dsp:nvSpPr>
        <dsp:cNvPr id="0" name=""/>
        <dsp:cNvSpPr/>
      </dsp:nvSpPr>
      <dsp:spPr>
        <a:xfrm>
          <a:off x="275365" y="890217"/>
          <a:ext cx="1005404" cy="4136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Float</a:t>
          </a:r>
        </a:p>
      </dsp:txBody>
      <dsp:txXfrm>
        <a:off x="275365" y="890217"/>
        <a:ext cx="1005404" cy="413654"/>
      </dsp:txXfrm>
    </dsp:sp>
    <dsp:sp modelId="{F0EBC1F2-5A41-4D12-9455-7A5C54330513}">
      <dsp:nvSpPr>
        <dsp:cNvPr id="0" name=""/>
        <dsp:cNvSpPr/>
      </dsp:nvSpPr>
      <dsp:spPr>
        <a:xfrm>
          <a:off x="256153" y="1303872"/>
          <a:ext cx="102461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D6F35A-ED80-46BA-A77B-3FB906F59183}">
      <dsp:nvSpPr>
        <dsp:cNvPr id="0" name=""/>
        <dsp:cNvSpPr/>
      </dsp:nvSpPr>
      <dsp:spPr>
        <a:xfrm>
          <a:off x="275365" y="1324555"/>
          <a:ext cx="1005404" cy="4136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Long</a:t>
          </a:r>
        </a:p>
      </dsp:txBody>
      <dsp:txXfrm>
        <a:off x="275365" y="1324555"/>
        <a:ext cx="1005404" cy="413654"/>
      </dsp:txXfrm>
    </dsp:sp>
    <dsp:sp modelId="{449DB954-DAAE-429F-84F9-21EB5265CA96}">
      <dsp:nvSpPr>
        <dsp:cNvPr id="0" name=""/>
        <dsp:cNvSpPr/>
      </dsp:nvSpPr>
      <dsp:spPr>
        <a:xfrm>
          <a:off x="256153" y="1738210"/>
          <a:ext cx="102461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DA5F68-DB38-4CBB-85E6-7C7C9768F978}">
      <dsp:nvSpPr>
        <dsp:cNvPr id="0" name=""/>
        <dsp:cNvSpPr/>
      </dsp:nvSpPr>
      <dsp:spPr>
        <a:xfrm>
          <a:off x="0" y="0"/>
          <a:ext cx="22909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C38840-F6DA-4B15-BF7D-AF57FD138F64}">
      <dsp:nvSpPr>
        <dsp:cNvPr id="0" name=""/>
        <dsp:cNvSpPr/>
      </dsp:nvSpPr>
      <dsp:spPr>
        <a:xfrm>
          <a:off x="0" y="0"/>
          <a:ext cx="458182" cy="29829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t" anchorCtr="0">
          <a:noAutofit/>
        </a:bodyPr>
        <a:lstStyle/>
        <a:p>
          <a:pPr marL="0" lvl="0" indent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00" kern="1200"/>
            <a:t>Data Types Supported</a:t>
          </a:r>
        </a:p>
      </dsp:txBody>
      <dsp:txXfrm>
        <a:off x="0" y="0"/>
        <a:ext cx="458182" cy="2982978"/>
      </dsp:txXfrm>
    </dsp:sp>
    <dsp:sp modelId="{AC089D7D-CF93-4FD2-BA9F-1EED0D953510}">
      <dsp:nvSpPr>
        <dsp:cNvPr id="0" name=""/>
        <dsp:cNvSpPr/>
      </dsp:nvSpPr>
      <dsp:spPr>
        <a:xfrm>
          <a:off x="492545" y="8848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Boolean</a:t>
          </a:r>
        </a:p>
      </dsp:txBody>
      <dsp:txXfrm>
        <a:off x="492545" y="8848"/>
        <a:ext cx="1798364" cy="176968"/>
      </dsp:txXfrm>
    </dsp:sp>
    <dsp:sp modelId="{A32CE9FA-C2CB-4C6B-9FAE-461A308FEF09}">
      <dsp:nvSpPr>
        <dsp:cNvPr id="0" name=""/>
        <dsp:cNvSpPr/>
      </dsp:nvSpPr>
      <dsp:spPr>
        <a:xfrm>
          <a:off x="458182" y="185817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D230D0-FFF4-4F83-9643-7EA2BC075469}">
      <dsp:nvSpPr>
        <dsp:cNvPr id="0" name=""/>
        <dsp:cNvSpPr/>
      </dsp:nvSpPr>
      <dsp:spPr>
        <a:xfrm>
          <a:off x="492545" y="194665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SINT</a:t>
          </a:r>
        </a:p>
      </dsp:txBody>
      <dsp:txXfrm>
        <a:off x="492545" y="194665"/>
        <a:ext cx="1798364" cy="176968"/>
      </dsp:txXfrm>
    </dsp:sp>
    <dsp:sp modelId="{75B164C9-7B3F-4CAA-8BDE-8B04E56E05B1}">
      <dsp:nvSpPr>
        <dsp:cNvPr id="0" name=""/>
        <dsp:cNvSpPr/>
      </dsp:nvSpPr>
      <dsp:spPr>
        <a:xfrm>
          <a:off x="458182" y="371634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82B72D-A957-43F3-92BB-B010F16E3D36}">
      <dsp:nvSpPr>
        <dsp:cNvPr id="0" name=""/>
        <dsp:cNvSpPr/>
      </dsp:nvSpPr>
      <dsp:spPr>
        <a:xfrm>
          <a:off x="492545" y="380482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SINT</a:t>
          </a:r>
        </a:p>
      </dsp:txBody>
      <dsp:txXfrm>
        <a:off x="492545" y="380482"/>
        <a:ext cx="1798364" cy="176968"/>
      </dsp:txXfrm>
    </dsp:sp>
    <dsp:sp modelId="{6352B019-5E33-4940-B043-FACB9F821A15}">
      <dsp:nvSpPr>
        <dsp:cNvPr id="0" name=""/>
        <dsp:cNvSpPr/>
      </dsp:nvSpPr>
      <dsp:spPr>
        <a:xfrm>
          <a:off x="458182" y="557451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46E154-A1A8-41F1-8E54-1EE6C27C18E4}">
      <dsp:nvSpPr>
        <dsp:cNvPr id="0" name=""/>
        <dsp:cNvSpPr/>
      </dsp:nvSpPr>
      <dsp:spPr>
        <a:xfrm>
          <a:off x="492545" y="566299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BYTE</a:t>
          </a:r>
        </a:p>
      </dsp:txBody>
      <dsp:txXfrm>
        <a:off x="492545" y="566299"/>
        <a:ext cx="1798364" cy="176968"/>
      </dsp:txXfrm>
    </dsp:sp>
    <dsp:sp modelId="{29FB5101-C34E-434D-B584-27B03120ED35}">
      <dsp:nvSpPr>
        <dsp:cNvPr id="0" name=""/>
        <dsp:cNvSpPr/>
      </dsp:nvSpPr>
      <dsp:spPr>
        <a:xfrm>
          <a:off x="458182" y="743268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66113C-D01C-454F-B608-24A614AA1CA5}">
      <dsp:nvSpPr>
        <dsp:cNvPr id="0" name=""/>
        <dsp:cNvSpPr/>
      </dsp:nvSpPr>
      <dsp:spPr>
        <a:xfrm>
          <a:off x="492545" y="752116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INT</a:t>
          </a:r>
        </a:p>
      </dsp:txBody>
      <dsp:txXfrm>
        <a:off x="492545" y="752116"/>
        <a:ext cx="1798364" cy="176968"/>
      </dsp:txXfrm>
    </dsp:sp>
    <dsp:sp modelId="{7FE41DAE-B5DD-4A95-8B67-9E6839C8C95E}">
      <dsp:nvSpPr>
        <dsp:cNvPr id="0" name=""/>
        <dsp:cNvSpPr/>
      </dsp:nvSpPr>
      <dsp:spPr>
        <a:xfrm>
          <a:off x="458182" y="929085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7C2110-462D-472D-BA17-3F97043017A8}">
      <dsp:nvSpPr>
        <dsp:cNvPr id="0" name=""/>
        <dsp:cNvSpPr/>
      </dsp:nvSpPr>
      <dsp:spPr>
        <a:xfrm>
          <a:off x="492545" y="937933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INT</a:t>
          </a:r>
        </a:p>
      </dsp:txBody>
      <dsp:txXfrm>
        <a:off x="492545" y="937933"/>
        <a:ext cx="1798364" cy="176968"/>
      </dsp:txXfrm>
    </dsp:sp>
    <dsp:sp modelId="{AAD56D4D-45F3-4C30-A5DC-515783A926A2}">
      <dsp:nvSpPr>
        <dsp:cNvPr id="0" name=""/>
        <dsp:cNvSpPr/>
      </dsp:nvSpPr>
      <dsp:spPr>
        <a:xfrm>
          <a:off x="458182" y="1114902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6CD534-1D90-451B-B242-846092421D6D}">
      <dsp:nvSpPr>
        <dsp:cNvPr id="0" name=""/>
        <dsp:cNvSpPr/>
      </dsp:nvSpPr>
      <dsp:spPr>
        <a:xfrm>
          <a:off x="492545" y="1123751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WORD</a:t>
          </a:r>
        </a:p>
      </dsp:txBody>
      <dsp:txXfrm>
        <a:off x="492545" y="1123751"/>
        <a:ext cx="1798364" cy="176968"/>
      </dsp:txXfrm>
    </dsp:sp>
    <dsp:sp modelId="{693615FE-1FE4-4CBB-8BAD-203705657481}">
      <dsp:nvSpPr>
        <dsp:cNvPr id="0" name=""/>
        <dsp:cNvSpPr/>
      </dsp:nvSpPr>
      <dsp:spPr>
        <a:xfrm>
          <a:off x="458182" y="1300719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B1B8DE-E871-497A-9690-037009F5F175}">
      <dsp:nvSpPr>
        <dsp:cNvPr id="0" name=""/>
        <dsp:cNvSpPr/>
      </dsp:nvSpPr>
      <dsp:spPr>
        <a:xfrm>
          <a:off x="492545" y="1309568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DINT</a:t>
          </a:r>
        </a:p>
      </dsp:txBody>
      <dsp:txXfrm>
        <a:off x="492545" y="1309568"/>
        <a:ext cx="1798364" cy="176968"/>
      </dsp:txXfrm>
    </dsp:sp>
    <dsp:sp modelId="{5C30380A-8D7B-4250-8217-2CE2C540B2BD}">
      <dsp:nvSpPr>
        <dsp:cNvPr id="0" name=""/>
        <dsp:cNvSpPr/>
      </dsp:nvSpPr>
      <dsp:spPr>
        <a:xfrm>
          <a:off x="458182" y="1486536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5D6913-E199-4039-A20B-CA5F4755B9ED}">
      <dsp:nvSpPr>
        <dsp:cNvPr id="0" name=""/>
        <dsp:cNvSpPr/>
      </dsp:nvSpPr>
      <dsp:spPr>
        <a:xfrm>
          <a:off x="492545" y="1495385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DWORD</a:t>
          </a:r>
        </a:p>
      </dsp:txBody>
      <dsp:txXfrm>
        <a:off x="492545" y="1495385"/>
        <a:ext cx="1798364" cy="176968"/>
      </dsp:txXfrm>
    </dsp:sp>
    <dsp:sp modelId="{4D870915-B8B4-4591-B866-F361B34BB9C0}">
      <dsp:nvSpPr>
        <dsp:cNvPr id="0" name=""/>
        <dsp:cNvSpPr/>
      </dsp:nvSpPr>
      <dsp:spPr>
        <a:xfrm>
          <a:off x="458182" y="1672353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583A45-9A6D-4A10-A2A6-A8E7EC7172E5}">
      <dsp:nvSpPr>
        <dsp:cNvPr id="0" name=""/>
        <dsp:cNvSpPr/>
      </dsp:nvSpPr>
      <dsp:spPr>
        <a:xfrm>
          <a:off x="492545" y="1681202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LINT</a:t>
          </a:r>
        </a:p>
      </dsp:txBody>
      <dsp:txXfrm>
        <a:off x="492545" y="1681202"/>
        <a:ext cx="1798364" cy="176968"/>
      </dsp:txXfrm>
    </dsp:sp>
    <dsp:sp modelId="{AC7BB51E-06C6-4833-81A5-41B0038DA01C}">
      <dsp:nvSpPr>
        <dsp:cNvPr id="0" name=""/>
        <dsp:cNvSpPr/>
      </dsp:nvSpPr>
      <dsp:spPr>
        <a:xfrm>
          <a:off x="458182" y="1858170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6F2C1B-2D3B-4879-AE9F-213C70FCB66F}">
      <dsp:nvSpPr>
        <dsp:cNvPr id="0" name=""/>
        <dsp:cNvSpPr/>
      </dsp:nvSpPr>
      <dsp:spPr>
        <a:xfrm>
          <a:off x="492545" y="1867019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ULINT</a:t>
          </a:r>
        </a:p>
      </dsp:txBody>
      <dsp:txXfrm>
        <a:off x="492545" y="1867019"/>
        <a:ext cx="1798364" cy="176968"/>
      </dsp:txXfrm>
    </dsp:sp>
    <dsp:sp modelId="{E3DDFE8F-7B87-4A81-B86A-A773EED95464}">
      <dsp:nvSpPr>
        <dsp:cNvPr id="0" name=""/>
        <dsp:cNvSpPr/>
      </dsp:nvSpPr>
      <dsp:spPr>
        <a:xfrm>
          <a:off x="458182" y="2043988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E4016-7E8C-408B-A686-A8E1BCD4506D}">
      <dsp:nvSpPr>
        <dsp:cNvPr id="0" name=""/>
        <dsp:cNvSpPr/>
      </dsp:nvSpPr>
      <dsp:spPr>
        <a:xfrm>
          <a:off x="492545" y="2052836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LWORD</a:t>
          </a:r>
        </a:p>
      </dsp:txBody>
      <dsp:txXfrm>
        <a:off x="492545" y="2052836"/>
        <a:ext cx="1798364" cy="176968"/>
      </dsp:txXfrm>
    </dsp:sp>
    <dsp:sp modelId="{45EE0D7F-6306-4B79-BAF5-563F5CBC8B64}">
      <dsp:nvSpPr>
        <dsp:cNvPr id="0" name=""/>
        <dsp:cNvSpPr/>
      </dsp:nvSpPr>
      <dsp:spPr>
        <a:xfrm>
          <a:off x="458182" y="2229805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2C7542-EC28-4D81-8500-63D2F65BF284}">
      <dsp:nvSpPr>
        <dsp:cNvPr id="0" name=""/>
        <dsp:cNvSpPr/>
      </dsp:nvSpPr>
      <dsp:spPr>
        <a:xfrm>
          <a:off x="492545" y="2238653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REAL</a:t>
          </a:r>
        </a:p>
      </dsp:txBody>
      <dsp:txXfrm>
        <a:off x="492545" y="2238653"/>
        <a:ext cx="1798364" cy="176968"/>
      </dsp:txXfrm>
    </dsp:sp>
    <dsp:sp modelId="{8D22B8BA-B4A0-4183-B08F-28001A2B6636}">
      <dsp:nvSpPr>
        <dsp:cNvPr id="0" name=""/>
        <dsp:cNvSpPr/>
      </dsp:nvSpPr>
      <dsp:spPr>
        <a:xfrm>
          <a:off x="458182" y="2415622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64D356-55DD-4D54-8146-C37FFE150EEA}">
      <dsp:nvSpPr>
        <dsp:cNvPr id="0" name=""/>
        <dsp:cNvSpPr/>
      </dsp:nvSpPr>
      <dsp:spPr>
        <a:xfrm>
          <a:off x="492545" y="2424470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LREAL</a:t>
          </a:r>
        </a:p>
      </dsp:txBody>
      <dsp:txXfrm>
        <a:off x="492545" y="2424470"/>
        <a:ext cx="1798364" cy="176968"/>
      </dsp:txXfrm>
    </dsp:sp>
    <dsp:sp modelId="{0188A1DD-8A12-4846-825B-A9BD80E610E9}">
      <dsp:nvSpPr>
        <dsp:cNvPr id="0" name=""/>
        <dsp:cNvSpPr/>
      </dsp:nvSpPr>
      <dsp:spPr>
        <a:xfrm>
          <a:off x="458182" y="2601439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E09B91-D9B3-4395-B3DA-2F44B903E33D}">
      <dsp:nvSpPr>
        <dsp:cNvPr id="0" name=""/>
        <dsp:cNvSpPr/>
      </dsp:nvSpPr>
      <dsp:spPr>
        <a:xfrm>
          <a:off x="492545" y="2610287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TIME</a:t>
          </a:r>
        </a:p>
      </dsp:txBody>
      <dsp:txXfrm>
        <a:off x="492545" y="2610287"/>
        <a:ext cx="1798364" cy="176968"/>
      </dsp:txXfrm>
    </dsp:sp>
    <dsp:sp modelId="{CECF0841-54CE-4DFB-95E8-C87BA9CBD1EB}">
      <dsp:nvSpPr>
        <dsp:cNvPr id="0" name=""/>
        <dsp:cNvSpPr/>
      </dsp:nvSpPr>
      <dsp:spPr>
        <a:xfrm>
          <a:off x="458182" y="2787256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35330D-E0B5-4D0E-8A8B-25B4E6666D46}">
      <dsp:nvSpPr>
        <dsp:cNvPr id="0" name=""/>
        <dsp:cNvSpPr/>
      </dsp:nvSpPr>
      <dsp:spPr>
        <a:xfrm>
          <a:off x="492545" y="2796104"/>
          <a:ext cx="179836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/>
            <a:t>STRING</a:t>
          </a:r>
        </a:p>
      </dsp:txBody>
      <dsp:txXfrm>
        <a:off x="492545" y="2796104"/>
        <a:ext cx="1798364" cy="176968"/>
      </dsp:txXfrm>
    </dsp:sp>
    <dsp:sp modelId="{E34AA8E0-28F4-4AD9-A916-75294B6038A1}">
      <dsp:nvSpPr>
        <dsp:cNvPr id="0" name=""/>
        <dsp:cNvSpPr/>
      </dsp:nvSpPr>
      <dsp:spPr>
        <a:xfrm>
          <a:off x="458182" y="2973073"/>
          <a:ext cx="18327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349A0CA-19C7-EA48-A0A3-DC4B89B0BD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D841CB-BC00-2C49-BB44-AE4A37AACB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48008-7972-9E41-83EA-F9693AF6AE93}" type="datetimeFigureOut">
              <a:rPr lang="en-US" smtClean="0"/>
              <a:t>12/5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93F442-95F2-D747-9D2D-BABA2573CD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93607E-D73F-4140-9777-BE07799653C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9FA03F-6420-0644-A612-869BCF590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3463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E85E70-50BF-3C41-9579-FD4E815028A4}" type="datetimeFigureOut">
              <a:rPr lang="en-US" smtClean="0"/>
              <a:t>12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23AE6-B4CE-5E4F-82B3-FA97ABC36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483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8604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5 Languages: 2 textual programming langu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T – Structured Tex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L – Instruction List</a:t>
            </a:r>
          </a:p>
          <a:p>
            <a:r>
              <a:rPr lang="en-US"/>
              <a:t>Graphical langu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PC/CPC – Sequential Function Charts / CPC (</a:t>
            </a:r>
            <a:r>
              <a:rPr lang="en-US" err="1"/>
              <a:t>Colour</a:t>
            </a:r>
            <a:r>
              <a:rPr lang="en-US"/>
              <a:t> Personal Computer) O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FBD – Function Block Dia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LD – Ladder Diagram</a:t>
            </a:r>
          </a:p>
          <a:p>
            <a:endParaRPr lang="en-US"/>
          </a:p>
          <a:p>
            <a:r>
              <a:rPr lang="en-US"/>
              <a:t>Protocols</a:t>
            </a:r>
          </a:p>
          <a:p>
            <a:r>
              <a:rPr lang="en-US"/>
              <a:t>Modbus</a:t>
            </a:r>
          </a:p>
          <a:p>
            <a:r>
              <a:rPr lang="en-US"/>
              <a:t>DNP3 – Distributed Network Protocol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260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5 Languages: 2 textual programming langu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T – Structured Tex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L – Instruction List</a:t>
            </a:r>
          </a:p>
          <a:p>
            <a:r>
              <a:rPr lang="en-US"/>
              <a:t>Graphical langu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PC/CPC – Sequential Function Charts / CPC (</a:t>
            </a:r>
            <a:r>
              <a:rPr lang="en-US" err="1"/>
              <a:t>Colour</a:t>
            </a:r>
            <a:r>
              <a:rPr lang="en-US"/>
              <a:t> Personal Computer) O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FBD – Function Block Dia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LD – Ladder Diagram</a:t>
            </a:r>
          </a:p>
          <a:p>
            <a:endParaRPr lang="en-US"/>
          </a:p>
          <a:p>
            <a:r>
              <a:rPr lang="en-US"/>
              <a:t>Protocols</a:t>
            </a:r>
          </a:p>
          <a:p>
            <a:r>
              <a:rPr lang="en-US"/>
              <a:t>Modbus</a:t>
            </a:r>
          </a:p>
          <a:p>
            <a:r>
              <a:rPr lang="en-US"/>
              <a:t>DNP3 – Distributed Network Protocol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175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591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dirty="0"/>
              <a:t>Rugged dependability in extreme environments</a:t>
            </a:r>
          </a:p>
          <a:p>
            <a:pPr lvl="1"/>
            <a:r>
              <a:rPr lang="en-US" altLang="en-US" dirty="0"/>
              <a:t>Extreme temperature rating -40 to +70</a:t>
            </a:r>
            <a:r>
              <a:rPr lang="en-US" altLang="en-US" baseline="50000" dirty="0"/>
              <a:t>◦</a:t>
            </a:r>
            <a:r>
              <a:rPr lang="en-US" altLang="en-US" dirty="0"/>
              <a:t>C </a:t>
            </a:r>
          </a:p>
          <a:p>
            <a:pPr lvl="1"/>
            <a:r>
              <a:rPr lang="en-US" altLang="en-US" dirty="0"/>
              <a:t>High mean-time between failure (MTBF) </a:t>
            </a:r>
          </a:p>
          <a:p>
            <a:r>
              <a:rPr lang="en-US" altLang="en-US" dirty="0"/>
              <a:t>Comprehensive flexibility meets varying requirements</a:t>
            </a:r>
          </a:p>
          <a:p>
            <a:pPr lvl="1"/>
            <a:r>
              <a:rPr lang="en-US" altLang="en-US" dirty="0"/>
              <a:t>Combines datalogging and control in one device </a:t>
            </a:r>
          </a:p>
          <a:p>
            <a:pPr lvl="1"/>
            <a:r>
              <a:rPr lang="en-US" altLang="en-US" dirty="0"/>
              <a:t>Simplifies remote monitoring and control needs</a:t>
            </a:r>
          </a:p>
          <a:p>
            <a:r>
              <a:rPr lang="en-US" altLang="en-US" dirty="0"/>
              <a:t>Open design future proofs investment</a:t>
            </a:r>
          </a:p>
          <a:p>
            <a:pPr lvl="1"/>
            <a:r>
              <a:rPr lang="en-US" altLang="en-US" dirty="0"/>
              <a:t>Based on industry standards and open Linux operating system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Critical application redundancy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Built-in option for redundant control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Dual power input and communication ports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Certified for hazardous environments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UL, CSA, CE and ABS Marine rated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Class I, Division 2 and Zone 2 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Many communication ports and protocols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All RTUs have Ethernet and multiple serial port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8027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42" name="Rectangle 2">
            <a:extLst>
              <a:ext uri="{FF2B5EF4-FFF2-40B4-BE49-F238E27FC236}">
                <a16:creationId xmlns:a16="http://schemas.microsoft.com/office/drawing/2014/main" id="{E40AD605-3D9A-4C22-8A04-147CFF2F38F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43" name="Rectangle 3">
            <a:extLst>
              <a:ext uri="{FF2B5EF4-FFF2-40B4-BE49-F238E27FC236}">
                <a16:creationId xmlns:a16="http://schemas.microsoft.com/office/drawing/2014/main" id="{3AA75846-EBBB-4068-B507-50E613657C5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b="1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4" name="Slide Image Placeholder 1">
            <a:extLst>
              <a:ext uri="{FF2B5EF4-FFF2-40B4-BE49-F238E27FC236}">
                <a16:creationId xmlns:a16="http://schemas.microsoft.com/office/drawing/2014/main" id="{79B718AC-73EA-4545-85E0-CC268DA1035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9315" name="Notes Placeholder 2">
            <a:extLst>
              <a:ext uri="{FF2B5EF4-FFF2-40B4-BE49-F238E27FC236}">
                <a16:creationId xmlns:a16="http://schemas.microsoft.com/office/drawing/2014/main" id="{766E9D29-FA1E-4979-AD28-1ED7A4C374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b="1">
              <a:latin typeface="Arial" panose="020B0604020202020204" pitchFamily="34" charset="0"/>
            </a:endParaRPr>
          </a:p>
        </p:txBody>
      </p:sp>
      <p:sp>
        <p:nvSpPr>
          <p:cNvPr id="269316" name="Slide Number Placeholder 3">
            <a:extLst>
              <a:ext uri="{FF2B5EF4-FFF2-40B4-BE49-F238E27FC236}">
                <a16:creationId xmlns:a16="http://schemas.microsoft.com/office/drawing/2014/main" id="{FCFB6E9C-2C50-4BA3-8A45-81E84A993236}"/>
              </a:ext>
            </a:extLst>
          </p:cNvPr>
          <p:cNvSpPr txBox="1">
            <a:spLocks noGrp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F5E9E3-38B3-4113-856F-13735CEB9D0A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5 Languages: 2 textual programming langu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T – Structured Tex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IL – Instruction List</a:t>
            </a:r>
          </a:p>
          <a:p>
            <a:r>
              <a:rPr lang="en-US"/>
              <a:t>Graphical langu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PC/CPC – Sequential Function Charts / CPC (</a:t>
            </a:r>
            <a:r>
              <a:rPr lang="en-US" err="1"/>
              <a:t>Colour</a:t>
            </a:r>
            <a:r>
              <a:rPr lang="en-US"/>
              <a:t> Personal Computer) O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FBD – Function Block Dia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LD – Ladder Diagram</a:t>
            </a:r>
          </a:p>
          <a:p>
            <a:endParaRPr lang="en-US"/>
          </a:p>
          <a:p>
            <a:r>
              <a:rPr lang="en-US"/>
              <a:t>Protocols</a:t>
            </a:r>
          </a:p>
          <a:p>
            <a:r>
              <a:rPr lang="en-US"/>
              <a:t>Modbus</a:t>
            </a:r>
          </a:p>
          <a:p>
            <a:r>
              <a:rPr lang="en-US"/>
              <a:t>DNP3 – Distributed Network Protocol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096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9264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1410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905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8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3.xml"/><Relationship Id="rId7" Type="http://schemas.openxmlformats.org/officeDocument/2006/relationships/image" Target="../media/image1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Right-Facing Triangle">
            <a:extLst>
              <a:ext uri="{FF2B5EF4-FFF2-40B4-BE49-F238E27FC236}">
                <a16:creationId xmlns:a16="http://schemas.microsoft.com/office/drawing/2014/main" id="{3F302D87-F3CE-1D42-9655-10BA124C3063}"/>
              </a:ext>
            </a:extLst>
          </p:cNvPr>
          <p:cNvSpPr/>
          <p:nvPr userDrawn="1"/>
        </p:nvSpPr>
        <p:spPr>
          <a:xfrm rot="5400000">
            <a:off x="2205988" y="2479956"/>
            <a:ext cx="7416884" cy="1868041"/>
          </a:xfrm>
          <a:prstGeom prst="triangle">
            <a:avLst/>
          </a:prstGeom>
          <a:solidFill>
            <a:schemeClr val="bg1"/>
          </a:solidFill>
          <a:ln>
            <a:noFill/>
          </a:ln>
          <a:effectLst>
            <a:outerShdw blurRad="342900" sx="112000" sy="1120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E7A6DE-BBE6-8844-B240-11CF83C912BE}"/>
              </a:ext>
            </a:extLst>
          </p:cNvPr>
          <p:cNvSpPr/>
          <p:nvPr userDrawn="1"/>
        </p:nvSpPr>
        <p:spPr>
          <a:xfrm>
            <a:off x="-213577" y="0"/>
            <a:ext cx="51939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E4D579-1982-F441-B59B-4DF93BBB0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890"/>
          <a:stretch/>
        </p:blipFill>
        <p:spPr>
          <a:xfrm rot="10800000" flipH="1">
            <a:off x="-212432" y="0"/>
            <a:ext cx="3545305" cy="6858000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909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32104" y="2066544"/>
            <a:ext cx="4636008" cy="9784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/>
              <a:t>Click to Edit Content and Copy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32104" y="3113532"/>
            <a:ext cx="4636008" cy="3566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 baseline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title of Presentation</a:t>
            </a:r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DB25E26E-F9F3-DB48-9506-EF31E1680571}"/>
              </a:ext>
            </a:extLst>
          </p:cNvPr>
          <p:cNvSpPr/>
          <p:nvPr userDrawn="1"/>
        </p:nvSpPr>
        <p:spPr>
          <a:xfrm rot="820535">
            <a:off x="10875526" y="939468"/>
            <a:ext cx="1082939" cy="6141997"/>
          </a:xfrm>
          <a:custGeom>
            <a:avLst/>
            <a:gdLst>
              <a:gd name="connsiteX0" fmla="*/ 0 w 1019381"/>
              <a:gd name="connsiteY0" fmla="*/ 8502129 h 8502129"/>
              <a:gd name="connsiteX1" fmla="*/ 254845 w 1019381"/>
              <a:gd name="connsiteY1" fmla="*/ 0 h 8502129"/>
              <a:gd name="connsiteX2" fmla="*/ 1019381 w 1019381"/>
              <a:gd name="connsiteY2" fmla="*/ 0 h 8502129"/>
              <a:gd name="connsiteX3" fmla="*/ 764536 w 1019381"/>
              <a:gd name="connsiteY3" fmla="*/ 8502129 h 8502129"/>
              <a:gd name="connsiteX4" fmla="*/ 0 w 1019381"/>
              <a:gd name="connsiteY4" fmla="*/ 8502129 h 8502129"/>
              <a:gd name="connsiteX0" fmla="*/ 0 w 1019381"/>
              <a:gd name="connsiteY0" fmla="*/ 8502129 h 8502129"/>
              <a:gd name="connsiteX1" fmla="*/ 254845 w 1019381"/>
              <a:gd name="connsiteY1" fmla="*/ 0 h 8502129"/>
              <a:gd name="connsiteX2" fmla="*/ 1019381 w 1019381"/>
              <a:gd name="connsiteY2" fmla="*/ 0 h 8502129"/>
              <a:gd name="connsiteX3" fmla="*/ 809485 w 1019381"/>
              <a:gd name="connsiteY3" fmla="*/ 6976288 h 8502129"/>
              <a:gd name="connsiteX4" fmla="*/ 0 w 1019381"/>
              <a:gd name="connsiteY4" fmla="*/ 8502129 h 8502129"/>
              <a:gd name="connsiteX0" fmla="*/ 0 w 993603"/>
              <a:gd name="connsiteY0" fmla="*/ 7204515 h 7204515"/>
              <a:gd name="connsiteX1" fmla="*/ 229067 w 993603"/>
              <a:gd name="connsiteY1" fmla="*/ 0 h 7204515"/>
              <a:gd name="connsiteX2" fmla="*/ 993603 w 993603"/>
              <a:gd name="connsiteY2" fmla="*/ 0 h 7204515"/>
              <a:gd name="connsiteX3" fmla="*/ 783707 w 993603"/>
              <a:gd name="connsiteY3" fmla="*/ 6976288 h 7204515"/>
              <a:gd name="connsiteX4" fmla="*/ 0 w 993603"/>
              <a:gd name="connsiteY4" fmla="*/ 7204515 h 7204515"/>
              <a:gd name="connsiteX0" fmla="*/ 0 w 993603"/>
              <a:gd name="connsiteY0" fmla="*/ 7204515 h 7204515"/>
              <a:gd name="connsiteX1" fmla="*/ 189688 w 993603"/>
              <a:gd name="connsiteY1" fmla="*/ 1034930 h 7204515"/>
              <a:gd name="connsiteX2" fmla="*/ 993603 w 993603"/>
              <a:gd name="connsiteY2" fmla="*/ 0 h 7204515"/>
              <a:gd name="connsiteX3" fmla="*/ 783707 w 993603"/>
              <a:gd name="connsiteY3" fmla="*/ 6976288 h 7204515"/>
              <a:gd name="connsiteX4" fmla="*/ 0 w 993603"/>
              <a:gd name="connsiteY4" fmla="*/ 7204515 h 7204515"/>
              <a:gd name="connsiteX0" fmla="*/ 0 w 894121"/>
              <a:gd name="connsiteY0" fmla="*/ 6169585 h 6169585"/>
              <a:gd name="connsiteX1" fmla="*/ 189688 w 894121"/>
              <a:gd name="connsiteY1" fmla="*/ 0 h 6169585"/>
              <a:gd name="connsiteX2" fmla="*/ 894121 w 894121"/>
              <a:gd name="connsiteY2" fmla="*/ 2130868 h 6169585"/>
              <a:gd name="connsiteX3" fmla="*/ 783707 w 894121"/>
              <a:gd name="connsiteY3" fmla="*/ 5941358 h 6169585"/>
              <a:gd name="connsiteX4" fmla="*/ 0 w 894121"/>
              <a:gd name="connsiteY4" fmla="*/ 6169585 h 6169585"/>
              <a:gd name="connsiteX0" fmla="*/ 0 w 894121"/>
              <a:gd name="connsiteY0" fmla="*/ 6184950 h 6184950"/>
              <a:gd name="connsiteX1" fmla="*/ 239943 w 894121"/>
              <a:gd name="connsiteY1" fmla="*/ 0 h 6184950"/>
              <a:gd name="connsiteX2" fmla="*/ 894121 w 894121"/>
              <a:gd name="connsiteY2" fmla="*/ 2146233 h 6184950"/>
              <a:gd name="connsiteX3" fmla="*/ 783707 w 894121"/>
              <a:gd name="connsiteY3" fmla="*/ 5956723 h 6184950"/>
              <a:gd name="connsiteX4" fmla="*/ 0 w 894121"/>
              <a:gd name="connsiteY4" fmla="*/ 6184950 h 6184950"/>
              <a:gd name="connsiteX0" fmla="*/ 0 w 1068127"/>
              <a:gd name="connsiteY0" fmla="*/ 6184950 h 6184950"/>
              <a:gd name="connsiteX1" fmla="*/ 239943 w 1068127"/>
              <a:gd name="connsiteY1" fmla="*/ 0 h 6184950"/>
              <a:gd name="connsiteX2" fmla="*/ 1068127 w 1068127"/>
              <a:gd name="connsiteY2" fmla="*/ 715578 h 6184950"/>
              <a:gd name="connsiteX3" fmla="*/ 783707 w 1068127"/>
              <a:gd name="connsiteY3" fmla="*/ 5956723 h 6184950"/>
              <a:gd name="connsiteX4" fmla="*/ 0 w 1068127"/>
              <a:gd name="connsiteY4" fmla="*/ 6184950 h 6184950"/>
              <a:gd name="connsiteX0" fmla="*/ 0 w 1068127"/>
              <a:gd name="connsiteY0" fmla="*/ 7297485 h 7297485"/>
              <a:gd name="connsiteX1" fmla="*/ 681545 w 1068127"/>
              <a:gd name="connsiteY1" fmla="*/ 0 h 7297485"/>
              <a:gd name="connsiteX2" fmla="*/ 1068127 w 1068127"/>
              <a:gd name="connsiteY2" fmla="*/ 1828113 h 7297485"/>
              <a:gd name="connsiteX3" fmla="*/ 783707 w 1068127"/>
              <a:gd name="connsiteY3" fmla="*/ 7069258 h 7297485"/>
              <a:gd name="connsiteX4" fmla="*/ 0 w 1068127"/>
              <a:gd name="connsiteY4" fmla="*/ 7297485 h 7297485"/>
              <a:gd name="connsiteX0" fmla="*/ 0 w 1068127"/>
              <a:gd name="connsiteY0" fmla="*/ 7758084 h 7758084"/>
              <a:gd name="connsiteX1" fmla="*/ 636491 w 1068127"/>
              <a:gd name="connsiteY1" fmla="*/ 0 h 7758084"/>
              <a:gd name="connsiteX2" fmla="*/ 1068127 w 1068127"/>
              <a:gd name="connsiteY2" fmla="*/ 2288712 h 7758084"/>
              <a:gd name="connsiteX3" fmla="*/ 783707 w 1068127"/>
              <a:gd name="connsiteY3" fmla="*/ 7529857 h 7758084"/>
              <a:gd name="connsiteX4" fmla="*/ 0 w 1068127"/>
              <a:gd name="connsiteY4" fmla="*/ 7758084 h 7758084"/>
              <a:gd name="connsiteX0" fmla="*/ 0 w 1108474"/>
              <a:gd name="connsiteY0" fmla="*/ 7758084 h 7758084"/>
              <a:gd name="connsiteX1" fmla="*/ 636491 w 1108474"/>
              <a:gd name="connsiteY1" fmla="*/ 0 h 7758084"/>
              <a:gd name="connsiteX2" fmla="*/ 1108474 w 1108474"/>
              <a:gd name="connsiteY2" fmla="*/ 2888752 h 7758084"/>
              <a:gd name="connsiteX3" fmla="*/ 783707 w 1108474"/>
              <a:gd name="connsiteY3" fmla="*/ 7529857 h 7758084"/>
              <a:gd name="connsiteX4" fmla="*/ 0 w 1108474"/>
              <a:gd name="connsiteY4" fmla="*/ 7758084 h 7758084"/>
              <a:gd name="connsiteX0" fmla="*/ 0 w 1108474"/>
              <a:gd name="connsiteY0" fmla="*/ 7520989 h 7520989"/>
              <a:gd name="connsiteX1" fmla="*/ 635221 w 1108474"/>
              <a:gd name="connsiteY1" fmla="*/ 0 h 7520989"/>
              <a:gd name="connsiteX2" fmla="*/ 1108474 w 1108474"/>
              <a:gd name="connsiteY2" fmla="*/ 2651657 h 7520989"/>
              <a:gd name="connsiteX3" fmla="*/ 783707 w 1108474"/>
              <a:gd name="connsiteY3" fmla="*/ 7292762 h 7520989"/>
              <a:gd name="connsiteX4" fmla="*/ 0 w 1108474"/>
              <a:gd name="connsiteY4" fmla="*/ 7520989 h 7520989"/>
              <a:gd name="connsiteX0" fmla="*/ 0 w 1100330"/>
              <a:gd name="connsiteY0" fmla="*/ 7479208 h 7479208"/>
              <a:gd name="connsiteX1" fmla="*/ 627077 w 1100330"/>
              <a:gd name="connsiteY1" fmla="*/ 0 h 7479208"/>
              <a:gd name="connsiteX2" fmla="*/ 1100330 w 1100330"/>
              <a:gd name="connsiteY2" fmla="*/ 2651657 h 7479208"/>
              <a:gd name="connsiteX3" fmla="*/ 775563 w 1100330"/>
              <a:gd name="connsiteY3" fmla="*/ 7292762 h 7479208"/>
              <a:gd name="connsiteX4" fmla="*/ 0 w 1100330"/>
              <a:gd name="connsiteY4" fmla="*/ 7479208 h 7479208"/>
              <a:gd name="connsiteX0" fmla="*/ 0 w 1100330"/>
              <a:gd name="connsiteY0" fmla="*/ 7116763 h 7116763"/>
              <a:gd name="connsiteX1" fmla="*/ 601370 w 1100330"/>
              <a:gd name="connsiteY1" fmla="*/ 0 h 7116763"/>
              <a:gd name="connsiteX2" fmla="*/ 1100330 w 1100330"/>
              <a:gd name="connsiteY2" fmla="*/ 2289212 h 7116763"/>
              <a:gd name="connsiteX3" fmla="*/ 775563 w 1100330"/>
              <a:gd name="connsiteY3" fmla="*/ 6930317 h 7116763"/>
              <a:gd name="connsiteX4" fmla="*/ 0 w 1100330"/>
              <a:gd name="connsiteY4" fmla="*/ 7116763 h 7116763"/>
              <a:gd name="connsiteX0" fmla="*/ 0 w 1100330"/>
              <a:gd name="connsiteY0" fmla="*/ 7158048 h 7158048"/>
              <a:gd name="connsiteX1" fmla="*/ 676838 w 1100330"/>
              <a:gd name="connsiteY1" fmla="*/ 0 h 7158048"/>
              <a:gd name="connsiteX2" fmla="*/ 1100330 w 1100330"/>
              <a:gd name="connsiteY2" fmla="*/ 2330497 h 7158048"/>
              <a:gd name="connsiteX3" fmla="*/ 775563 w 1100330"/>
              <a:gd name="connsiteY3" fmla="*/ 6971602 h 7158048"/>
              <a:gd name="connsiteX4" fmla="*/ 0 w 1100330"/>
              <a:gd name="connsiteY4" fmla="*/ 7158048 h 7158048"/>
              <a:gd name="connsiteX0" fmla="*/ 0 w 1100330"/>
              <a:gd name="connsiteY0" fmla="*/ 7195796 h 7195796"/>
              <a:gd name="connsiteX1" fmla="*/ 601795 w 1100330"/>
              <a:gd name="connsiteY1" fmla="*/ 0 h 7195796"/>
              <a:gd name="connsiteX2" fmla="*/ 1100330 w 1100330"/>
              <a:gd name="connsiteY2" fmla="*/ 2368245 h 7195796"/>
              <a:gd name="connsiteX3" fmla="*/ 775563 w 1100330"/>
              <a:gd name="connsiteY3" fmla="*/ 7009350 h 7195796"/>
              <a:gd name="connsiteX4" fmla="*/ 0 w 1100330"/>
              <a:gd name="connsiteY4" fmla="*/ 7195796 h 7195796"/>
              <a:gd name="connsiteX0" fmla="*/ 0 w 1073439"/>
              <a:gd name="connsiteY0" fmla="*/ 7195796 h 7195796"/>
              <a:gd name="connsiteX1" fmla="*/ 601795 w 1073439"/>
              <a:gd name="connsiteY1" fmla="*/ 0 h 7195796"/>
              <a:gd name="connsiteX2" fmla="*/ 1073439 w 1073439"/>
              <a:gd name="connsiteY2" fmla="*/ 2420117 h 7195796"/>
              <a:gd name="connsiteX3" fmla="*/ 775563 w 1073439"/>
              <a:gd name="connsiteY3" fmla="*/ 7009350 h 7195796"/>
              <a:gd name="connsiteX4" fmla="*/ 0 w 1073439"/>
              <a:gd name="connsiteY4" fmla="*/ 7195796 h 7195796"/>
              <a:gd name="connsiteX0" fmla="*/ 0 w 1073439"/>
              <a:gd name="connsiteY0" fmla="*/ 7171737 h 7171737"/>
              <a:gd name="connsiteX1" fmla="*/ 569138 w 1073439"/>
              <a:gd name="connsiteY1" fmla="*/ 0 h 7171737"/>
              <a:gd name="connsiteX2" fmla="*/ 1073439 w 1073439"/>
              <a:gd name="connsiteY2" fmla="*/ 2396058 h 7171737"/>
              <a:gd name="connsiteX3" fmla="*/ 775563 w 1073439"/>
              <a:gd name="connsiteY3" fmla="*/ 6985291 h 7171737"/>
              <a:gd name="connsiteX4" fmla="*/ 0 w 1073439"/>
              <a:gd name="connsiteY4" fmla="*/ 7171737 h 7171737"/>
              <a:gd name="connsiteX0" fmla="*/ 0 w 1073439"/>
              <a:gd name="connsiteY0" fmla="*/ 7182246 h 7182246"/>
              <a:gd name="connsiteX1" fmla="*/ 588348 w 1073439"/>
              <a:gd name="connsiteY1" fmla="*/ 0 h 7182246"/>
              <a:gd name="connsiteX2" fmla="*/ 1073439 w 1073439"/>
              <a:gd name="connsiteY2" fmla="*/ 2406567 h 7182246"/>
              <a:gd name="connsiteX3" fmla="*/ 775563 w 1073439"/>
              <a:gd name="connsiteY3" fmla="*/ 6995800 h 7182246"/>
              <a:gd name="connsiteX4" fmla="*/ 0 w 1073439"/>
              <a:gd name="connsiteY4" fmla="*/ 7182246 h 7182246"/>
              <a:gd name="connsiteX0" fmla="*/ 0 w 1077477"/>
              <a:gd name="connsiteY0" fmla="*/ 7182246 h 7182246"/>
              <a:gd name="connsiteX1" fmla="*/ 588348 w 1077477"/>
              <a:gd name="connsiteY1" fmla="*/ 0 h 7182246"/>
              <a:gd name="connsiteX2" fmla="*/ 1077477 w 1077477"/>
              <a:gd name="connsiteY2" fmla="*/ 2405414 h 7182246"/>
              <a:gd name="connsiteX3" fmla="*/ 775563 w 1077477"/>
              <a:gd name="connsiteY3" fmla="*/ 6995800 h 7182246"/>
              <a:gd name="connsiteX4" fmla="*/ 0 w 1077477"/>
              <a:gd name="connsiteY4" fmla="*/ 7182246 h 7182246"/>
              <a:gd name="connsiteX0" fmla="*/ 0 w 1082939"/>
              <a:gd name="connsiteY0" fmla="*/ 7210268 h 7210268"/>
              <a:gd name="connsiteX1" fmla="*/ 593810 w 1082939"/>
              <a:gd name="connsiteY1" fmla="*/ 0 h 7210268"/>
              <a:gd name="connsiteX2" fmla="*/ 1082939 w 1082939"/>
              <a:gd name="connsiteY2" fmla="*/ 2405414 h 7210268"/>
              <a:gd name="connsiteX3" fmla="*/ 781025 w 1082939"/>
              <a:gd name="connsiteY3" fmla="*/ 6995800 h 7210268"/>
              <a:gd name="connsiteX4" fmla="*/ 0 w 1082939"/>
              <a:gd name="connsiteY4" fmla="*/ 7210268 h 7210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2939" h="7210268">
                <a:moveTo>
                  <a:pt x="0" y="7210268"/>
                </a:moveTo>
                <a:lnTo>
                  <a:pt x="593810" y="0"/>
                </a:lnTo>
                <a:lnTo>
                  <a:pt x="1082939" y="2405414"/>
                </a:lnTo>
                <a:lnTo>
                  <a:pt x="781025" y="6995800"/>
                </a:lnTo>
                <a:lnTo>
                  <a:pt x="0" y="7210268"/>
                </a:lnTo>
                <a:close/>
              </a:path>
            </a:pathLst>
          </a:custGeom>
          <a:solidFill>
            <a:srgbClr val="C00000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17" y="6073333"/>
            <a:ext cx="3463986" cy="14616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16" y="4970917"/>
            <a:ext cx="3469373" cy="89153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813817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lvl="0"/>
            <a:r>
              <a:rPr lang="en-US"/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2625697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mag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33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BBAC50-7A17-8044-8291-1B9889C80AAD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F452DC7-5DC8-2F4B-96C9-3B547ED334EF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0AE58E5-3790-4C49-AE9F-BDAA19F777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5541" y="1901952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E4909624-9AC3-5C40-BB2E-1EA549CF726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8537" y="1901952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D374FE38-4F06-4845-A7D0-597E8A84516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94844" y="1901952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lnSpc>
                <a:spcPct val="100000"/>
              </a:lnSpc>
              <a:defRPr sz="2000" baseline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2">
            <a:extLst>
              <a:ext uri="{FF2B5EF4-FFF2-40B4-BE49-F238E27FC236}">
                <a16:creationId xmlns:a16="http://schemas.microsoft.com/office/drawing/2014/main" id="{4BCE609F-1AD4-2941-B749-4C35E058E9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6562" y="1901952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Text Placeholder 45">
            <a:extLst>
              <a:ext uri="{FF2B5EF4-FFF2-40B4-BE49-F238E27FC236}">
                <a16:creationId xmlns:a16="http://schemas.microsoft.com/office/drawing/2014/main" id="{104BED92-3C29-324A-A33C-DB7AA5FED3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6562" y="4480560"/>
            <a:ext cx="2350659" cy="4908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accent4">
                    <a:lumMod val="10000"/>
                  </a:schemeClr>
                </a:solidFill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45" name="Text Placeholder 45">
            <a:extLst>
              <a:ext uri="{FF2B5EF4-FFF2-40B4-BE49-F238E27FC236}">
                <a16:creationId xmlns:a16="http://schemas.microsoft.com/office/drawing/2014/main" id="{D3891A97-1332-B24B-96FA-AADE8273011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94844" y="4480560"/>
            <a:ext cx="2350659" cy="4908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accent4">
                    <a:lumMod val="10000"/>
                  </a:schemeClr>
                </a:solidFill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BC041B28-8559-064C-9EF6-9F86B45689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5541" y="4480560"/>
            <a:ext cx="2350659" cy="4908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accent4">
                    <a:lumMod val="10000"/>
                  </a:schemeClr>
                </a:solidFill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49" name="Text Placeholder 45">
            <a:extLst>
              <a:ext uri="{FF2B5EF4-FFF2-40B4-BE49-F238E27FC236}">
                <a16:creationId xmlns:a16="http://schemas.microsoft.com/office/drawing/2014/main" id="{97B57322-5D1B-514E-9C66-CC45AF5DAE9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68537" y="4480560"/>
            <a:ext cx="2350659" cy="4908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accent4">
                    <a:lumMod val="10000"/>
                  </a:schemeClr>
                </a:solidFill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584400F5-4A35-9249-ADF1-DEA9BCDA69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6562" y="3857799"/>
            <a:ext cx="2350659" cy="5486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  <a:sym typeface="Titillium Bd" panose="000008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3" name="Picture 32" descr="A black sign with white text&#10;&#10;Description automatically generated">
            <a:extLst>
              <a:ext uri="{FF2B5EF4-FFF2-40B4-BE49-F238E27FC236}">
                <a16:creationId xmlns:a16="http://schemas.microsoft.com/office/drawing/2014/main" id="{80B745E7-F03A-364A-A69B-F7637AF4C05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37" name="Slide Number Placeholder 6">
            <a:extLst>
              <a:ext uri="{FF2B5EF4-FFF2-40B4-BE49-F238E27FC236}">
                <a16:creationId xmlns:a16="http://schemas.microsoft.com/office/drawing/2014/main" id="{6ED3552E-ECB2-1241-A2FE-F599B0092262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60A9B0F-577D-A046-9BC5-8A20FC61FA13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86562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1pPr>
          </a:lstStyle>
          <a:p>
            <a:pPr lvl="0"/>
            <a:r>
              <a:rPr lang="en-US"/>
              <a:t>Agenda item 1</a:t>
            </a:r>
          </a:p>
          <a:p>
            <a:pPr lvl="0"/>
            <a:r>
              <a:rPr lang="en-US"/>
              <a:t>Agenda item 2</a:t>
            </a:r>
          </a:p>
          <a:p>
            <a:pPr lvl="0"/>
            <a:r>
              <a:rPr lang="en-US"/>
              <a:t>Agenda item 3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394844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1pPr>
          </a:lstStyle>
          <a:p>
            <a:pPr lvl="0"/>
            <a:r>
              <a:rPr lang="en-US"/>
              <a:t>Agenda item 1</a:t>
            </a:r>
          </a:p>
          <a:p>
            <a:pPr lvl="0"/>
            <a:r>
              <a:rPr lang="en-US"/>
              <a:t>Agenda item 2</a:t>
            </a:r>
          </a:p>
          <a:p>
            <a:pPr lvl="0"/>
            <a:r>
              <a:rPr lang="en-US"/>
              <a:t>Agenda item 3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05541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1pPr>
          </a:lstStyle>
          <a:p>
            <a:pPr lvl="0"/>
            <a:r>
              <a:rPr lang="en-US"/>
              <a:t>Agenda item 1</a:t>
            </a:r>
          </a:p>
          <a:p>
            <a:pPr lvl="0"/>
            <a:r>
              <a:rPr lang="en-US"/>
              <a:t>Agenda item 2</a:t>
            </a:r>
          </a:p>
          <a:p>
            <a:pPr lvl="0"/>
            <a:r>
              <a:rPr lang="en-US"/>
              <a:t>Agenda item 3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868537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1pPr>
          </a:lstStyle>
          <a:p>
            <a:pPr lvl="0"/>
            <a:r>
              <a:rPr lang="en-US"/>
              <a:t>Agenda item 1</a:t>
            </a:r>
          </a:p>
          <a:p>
            <a:pPr lvl="0"/>
            <a:r>
              <a:rPr lang="en-US"/>
              <a:t>Agenda item 2</a:t>
            </a:r>
          </a:p>
          <a:p>
            <a:pPr lvl="0"/>
            <a:r>
              <a:rPr lang="en-US"/>
              <a:t>Agenda item 3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Standard Page Heading/Plain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584400F5-4A35-9249-ADF1-DEA9BCDA69B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394844" y="3857799"/>
            <a:ext cx="2350659" cy="5486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  <a:sym typeface="Titillium Bd" panose="000008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584400F5-4A35-9249-ADF1-DEA9BCDA69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105541" y="3857799"/>
            <a:ext cx="2350659" cy="5486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  <a:sym typeface="Titillium Bd" panose="000008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584400F5-4A35-9249-ADF1-DEA9BCDA69B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868537" y="3857799"/>
            <a:ext cx="2350659" cy="5486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  <a:sym typeface="Titillium Bd" panose="00000800000000000000" pitchFamily="50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3003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Regu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40920F4-E584-4046-AFF0-AAE539D7AFB1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3F2ADE-7BAE-FE48-B737-68A29D1255F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black sign with white text&#10;&#10;Description automatically generated">
            <a:extLst>
              <a:ext uri="{FF2B5EF4-FFF2-40B4-BE49-F238E27FC236}">
                <a16:creationId xmlns:a16="http://schemas.microsoft.com/office/drawing/2014/main" id="{761C9082-60BC-064E-AAC2-FA3CC4BCB7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5" name="Slide Number Placeholder 6">
            <a:extLst>
              <a:ext uri="{FF2B5EF4-FFF2-40B4-BE49-F238E27FC236}">
                <a16:creationId xmlns:a16="http://schemas.microsoft.com/office/drawing/2014/main" id="{9D67A6A4-CC50-FB45-909B-1C321A7286C5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BBB49E-A8AC-7448-9581-7F73A7F9C64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Standard Page Heading - Plain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A84AA358-6F8F-1F44-A4DF-42AB851CE91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1074" y="1901952"/>
            <a:ext cx="10945444" cy="39501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4564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Ghos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2D1BD61-634F-4A47-B174-A2F0D04F666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048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A84AA358-6F8F-1F44-A4DF-42AB851CE91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1074" y="1901952"/>
            <a:ext cx="10945444" cy="39501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AFD351E-588E-4A44-9A4C-F077BEC197A3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F2B03C-1F04-1548-8AE3-5ED0CD3AFB28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 descr="A black sign with white text&#10;&#10;Description automatically generated">
            <a:extLst>
              <a:ext uri="{FF2B5EF4-FFF2-40B4-BE49-F238E27FC236}">
                <a16:creationId xmlns:a16="http://schemas.microsoft.com/office/drawing/2014/main" id="{8B3B3BF9-70E0-C04D-95B1-2A525903F07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30" name="Slide Number Placeholder 6">
            <a:extLst>
              <a:ext uri="{FF2B5EF4-FFF2-40B4-BE49-F238E27FC236}">
                <a16:creationId xmlns:a16="http://schemas.microsoft.com/office/drawing/2014/main" id="{1167E51F-DB4F-AC47-8099-7D8A2098F8F3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9936E1-0ECB-D242-81A6-7025B169F77D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Standard Page Heading - Ghosted Arrow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1419682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51A4E53-853D-524D-85DA-2A286E40879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B8A64A7-C697-5645-95FC-AAB0A0E5D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890"/>
          <a:stretch/>
        </p:blipFill>
        <p:spPr>
          <a:xfrm rot="10800000" flipH="1">
            <a:off x="0" y="-15676"/>
            <a:ext cx="3545305" cy="6858000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AFD351E-588E-4A44-9A4C-F077BEC197A3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F2B03C-1F04-1548-8AE3-5ED0CD3AFB28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CD8734E-2BFC-E445-8F94-3A5BE2C22B7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91074" y="1901952"/>
            <a:ext cx="10945444" cy="2011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smtClean="0"/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B08C399-0ECB-D74E-A4B9-4F31C3F7F1B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91074" y="4023360"/>
            <a:ext cx="10945444" cy="2011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smtClean="0"/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 descr="A black sign with white text&#10;&#10;Description automatically generated">
            <a:extLst>
              <a:ext uri="{FF2B5EF4-FFF2-40B4-BE49-F238E27FC236}">
                <a16:creationId xmlns:a16="http://schemas.microsoft.com/office/drawing/2014/main" id="{DDE3D5FD-96D0-214C-96B9-EFF1764729D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6" name="Slide Number Placeholder 6">
            <a:extLst>
              <a:ext uri="{FF2B5EF4-FFF2-40B4-BE49-F238E27FC236}">
                <a16:creationId xmlns:a16="http://schemas.microsoft.com/office/drawing/2014/main" id="{1F21C825-EAB4-9F48-9181-EC0EE205D970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E8FA77-9DCC-AE45-B246-42FAC673B4F6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Double Horizontal - Ghosted Arrow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9689472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720980" y="1901952"/>
            <a:ext cx="5230367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31F4DD03-79D4-834A-B13E-882AC0269CF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43161" y="1901952"/>
            <a:ext cx="5230367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B78A90-16B3-544C-A7AC-D58F4EBAE6D5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1D2184-173D-A542-AD05-41D96DE269FF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black sign with white text&#10;&#10;Description automatically generated">
            <a:extLst>
              <a:ext uri="{FF2B5EF4-FFF2-40B4-BE49-F238E27FC236}">
                <a16:creationId xmlns:a16="http://schemas.microsoft.com/office/drawing/2014/main" id="{42E0F146-3C04-264E-AD2C-ACC5A17664C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16007CB1-868D-254F-988F-BC008F952FE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053AA0-C7EE-5D46-8553-1DF8CD274ADE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Double Vertica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8924154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92952" y="0"/>
            <a:ext cx="6099048" cy="6858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031D513C-0038-A840-BA0F-5E5095A01FB5}"/>
              </a:ext>
            </a:extLst>
          </p:cNvPr>
          <p:cNvSpPr/>
          <p:nvPr userDrawn="1"/>
        </p:nvSpPr>
        <p:spPr>
          <a:xfrm>
            <a:off x="5620938" y="2973615"/>
            <a:ext cx="950124" cy="91077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491CD6-944A-4C4A-AA24-336273FB0457}"/>
              </a:ext>
            </a:extLst>
          </p:cNvPr>
          <p:cNvSpPr txBox="1"/>
          <p:nvPr userDrawn="1"/>
        </p:nvSpPr>
        <p:spPr>
          <a:xfrm>
            <a:off x="5710990" y="3202559"/>
            <a:ext cx="770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  <a:latin typeface="+mj-lt"/>
              </a:rPr>
              <a:t>VS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B6C317-D2CE-3A4D-B860-6B95243BC75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AD97C8-94B5-4143-9125-218476B8E543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lide Number Placeholder 6">
            <a:extLst>
              <a:ext uri="{FF2B5EF4-FFF2-40B4-BE49-F238E27FC236}">
                <a16:creationId xmlns:a16="http://schemas.microsoft.com/office/drawing/2014/main" id="{0176EB27-E6A1-B349-A0E5-3A1805211186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20" descr="A black sign with white text&#10;&#10;Description automatically generated">
            <a:extLst>
              <a:ext uri="{FF2B5EF4-FFF2-40B4-BE49-F238E27FC236}">
                <a16:creationId xmlns:a16="http://schemas.microsoft.com/office/drawing/2014/main" id="{2EE990C8-BE75-2E45-9C80-2E8B9CC4438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38834FB2-55E3-CD47-A772-F786AFFF0EDA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723324" y="1902691"/>
            <a:ext cx="4571747" cy="388477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</a:t>
            </a:r>
            <a:br>
              <a:rPr lang="en-US"/>
            </a:br>
            <a:r>
              <a:rPr lang="en-US"/>
              <a:t>Click on the icon below to get started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E1837556-8C8E-D54F-983C-C6E759EAF009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856603" y="1902691"/>
            <a:ext cx="4571747" cy="388477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</a:t>
            </a:r>
            <a:br>
              <a:rPr lang="en-US"/>
            </a:br>
            <a:r>
              <a:rPr lang="en-US"/>
              <a:t>Click on the icon below to get star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DF2B08-937D-5947-A8AA-579782E33DD4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4572000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Comparison 1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4572000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51962" y="0"/>
            <a:ext cx="4572000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Comparison 2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866202" y="1150685"/>
            <a:ext cx="4572000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55872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Split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92952" y="-1"/>
            <a:ext cx="6099048" cy="6858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E3BDCF0C-CA81-9548-9342-529298AEE8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2456" y="1901951"/>
            <a:ext cx="4916344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600"/>
              </a:lnSpc>
              <a:spcBef>
                <a:spcPts val="480"/>
              </a:spcBef>
              <a:defRPr sz="2000"/>
            </a:lvl1pPr>
            <a:lvl2pPr>
              <a:lnSpc>
                <a:spcPts val="2600"/>
              </a:lnSpc>
              <a:spcBef>
                <a:spcPts val="480"/>
              </a:spcBef>
              <a:defRPr sz="1800"/>
            </a:lvl2pPr>
            <a:lvl3pPr>
              <a:lnSpc>
                <a:spcPts val="2600"/>
              </a:lnSpc>
              <a:spcBef>
                <a:spcPts val="480"/>
              </a:spcBef>
              <a:defRPr sz="1600"/>
            </a:lvl3pPr>
            <a:lvl4pPr>
              <a:lnSpc>
                <a:spcPts val="2600"/>
              </a:lnSpc>
              <a:spcBef>
                <a:spcPts val="480"/>
              </a:spcBef>
              <a:defRPr sz="1400"/>
            </a:lvl4pPr>
            <a:lvl5pPr>
              <a:lnSpc>
                <a:spcPts val="2600"/>
              </a:lnSpc>
              <a:spcBef>
                <a:spcPts val="48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807933-3389-7C41-9AD0-3A5AF2F626EA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BB56C97-5C22-F243-9EE1-CC08E7302D7F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black sign with white text&#10;&#10;Description automatically generated">
            <a:extLst>
              <a:ext uri="{FF2B5EF4-FFF2-40B4-BE49-F238E27FC236}">
                <a16:creationId xmlns:a16="http://schemas.microsoft.com/office/drawing/2014/main" id="{D61EEE53-9B94-CE4A-B003-7CE7E2CE83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69575ED7-0A41-B64B-9262-92AF4B420C54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6092825" y="-1"/>
            <a:ext cx="6099175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</a:t>
            </a:r>
            <a:br>
              <a:rPr lang="en-US"/>
            </a:br>
            <a:r>
              <a:rPr lang="en-US"/>
              <a:t>Click on the icon below to get started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8A0FAF-B1DD-1741-982E-D59C25899E41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4919472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Gray Back Split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4919472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5523816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Spli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6092825" y="-1"/>
            <a:ext cx="6099175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</a:t>
            </a:r>
            <a:br>
              <a:rPr lang="en-US"/>
            </a:br>
            <a:r>
              <a:rPr lang="en-US"/>
              <a:t>Click on the icon below to get started.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5078FE57-77EE-254F-8309-3A9B5686B90A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2B35EF0-46CD-8045-9DA6-147FD038ECE3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black sign with white text&#10;&#10;Description automatically generated">
            <a:extLst>
              <a:ext uri="{FF2B5EF4-FFF2-40B4-BE49-F238E27FC236}">
                <a16:creationId xmlns:a16="http://schemas.microsoft.com/office/drawing/2014/main" id="{B868B56D-5297-974D-BEFB-D6F8D2C99F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F0E59DAF-F025-C64D-B5CD-BCCE948D060B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87D5A0-7C85-8D4F-A925-93411FFAD676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4919472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White Back Split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4919472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3BDCF0C-CA81-9548-9342-529298AEE8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2456" y="1901951"/>
            <a:ext cx="4916344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600"/>
              </a:lnSpc>
              <a:spcBef>
                <a:spcPts val="480"/>
              </a:spcBef>
              <a:defRPr sz="2000"/>
            </a:lvl1pPr>
            <a:lvl2pPr>
              <a:lnSpc>
                <a:spcPts val="2600"/>
              </a:lnSpc>
              <a:spcBef>
                <a:spcPts val="480"/>
              </a:spcBef>
              <a:defRPr sz="1800"/>
            </a:lvl2pPr>
            <a:lvl3pPr>
              <a:lnSpc>
                <a:spcPts val="2600"/>
              </a:lnSpc>
              <a:spcBef>
                <a:spcPts val="480"/>
              </a:spcBef>
              <a:defRPr sz="1600"/>
            </a:lvl3pPr>
            <a:lvl4pPr>
              <a:lnSpc>
                <a:spcPts val="2600"/>
              </a:lnSpc>
              <a:spcBef>
                <a:spcPts val="480"/>
              </a:spcBef>
              <a:defRPr sz="1400"/>
            </a:lvl4pPr>
            <a:lvl5pPr>
              <a:lnSpc>
                <a:spcPts val="2600"/>
              </a:lnSpc>
              <a:spcBef>
                <a:spcPts val="48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28070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552788" y="1901952"/>
            <a:ext cx="2713789" cy="1008678"/>
          </a:xfrm>
          <a:prstGeom prst="rect">
            <a:avLst/>
          </a:prstGeom>
          <a:solidFill>
            <a:srgbClr val="AB2228"/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3"/>
          </p:nvPr>
        </p:nvSpPr>
        <p:spPr>
          <a:xfrm>
            <a:off x="552788" y="3090672"/>
            <a:ext cx="5559256" cy="28895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4"/>
          </p:nvPr>
        </p:nvSpPr>
        <p:spPr>
          <a:xfrm>
            <a:off x="6231690" y="3090672"/>
            <a:ext cx="5559256" cy="28895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3C7926EE-7162-394E-AC94-4F56C647940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398255" y="1901952"/>
            <a:ext cx="2713789" cy="100867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016C6094-D5BD-AD4B-83F6-83F7A341C74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6231691" y="1901952"/>
            <a:ext cx="2713789" cy="1008678"/>
          </a:xfrm>
          <a:prstGeom prst="rect">
            <a:avLst/>
          </a:prstGeom>
          <a:solidFill>
            <a:srgbClr val="0D365D"/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3818F04B-BD29-2E44-9A61-FB64559B7A17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9077158" y="1901952"/>
            <a:ext cx="2713789" cy="100867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EC459B0-7D32-AE4C-B823-B0C33E03648A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19B2E69-38CA-8A47-9E22-10343E532865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 descr="A black sign with white text&#10;&#10;Description automatically generated">
            <a:extLst>
              <a:ext uri="{FF2B5EF4-FFF2-40B4-BE49-F238E27FC236}">
                <a16:creationId xmlns:a16="http://schemas.microsoft.com/office/drawing/2014/main" id="{8CE43DDE-1299-304D-AA99-FEDCD89AF0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34" name="Slide Number Placeholder 6">
            <a:extLst>
              <a:ext uri="{FF2B5EF4-FFF2-40B4-BE49-F238E27FC236}">
                <a16:creationId xmlns:a16="http://schemas.microsoft.com/office/drawing/2014/main" id="{504057A5-1AAB-A04B-B699-F6A5675B275D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68D1B2E-009C-9544-A820-CF14D15A0D61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Multi chart, multi image slide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376863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4762982" y="1901952"/>
            <a:ext cx="2823021" cy="4079748"/>
          </a:xfrm>
          <a:prstGeom prst="rect">
            <a:avLst/>
          </a:prstGeom>
          <a:solidFill>
            <a:srgbClr val="AB2228"/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opy Block, Infographic, Image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552788" y="3995927"/>
            <a:ext cx="4134959" cy="19751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opy Block, Infographic, Imag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1F8F984E-C8A7-7042-85C7-63EA05CF568E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549201" y="1901951"/>
            <a:ext cx="4134959" cy="19751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opy Block, Infographic, Imag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C711F772-1F11-9A41-9FFE-87AAB0FF7869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7663162" y="3995927"/>
            <a:ext cx="4134959" cy="19751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opy Block, Infographic, Imag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ECD5CA76-ADA4-C842-984A-4BCD01298557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7659575" y="1901951"/>
            <a:ext cx="4134959" cy="19751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opy Block, Infographic, Imag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9F8E388-E713-BC40-80A7-48B42EAAB9A3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F646FA-F3F8-6E4D-A755-21F7238E5490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 descr="A black sign with white text&#10;&#10;Description automatically generated">
            <a:extLst>
              <a:ext uri="{FF2B5EF4-FFF2-40B4-BE49-F238E27FC236}">
                <a16:creationId xmlns:a16="http://schemas.microsoft.com/office/drawing/2014/main" id="{12F38B39-1245-974D-94A8-D1EE4F7586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33" name="Slide Number Placeholder 6">
            <a:extLst>
              <a:ext uri="{FF2B5EF4-FFF2-40B4-BE49-F238E27FC236}">
                <a16:creationId xmlns:a16="http://schemas.microsoft.com/office/drawing/2014/main" id="{4C203645-752B-614C-8441-1812530BF58D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79E901-3A03-1E4C-BA8A-CD4E43BAF00A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006206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m Title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228EDBF-5F05-284B-9F7B-B5F5B49FD8F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3562854 h 6858000"/>
              <a:gd name="connsiteX1" fmla="*/ 12192000 w 12192000"/>
              <a:gd name="connsiteY1" fmla="*/ 5651801 h 6858000"/>
              <a:gd name="connsiteX2" fmla="*/ 10985801 w 12192000"/>
              <a:gd name="connsiteY2" fmla="*/ 6858000 h 6858000"/>
              <a:gd name="connsiteX3" fmla="*/ 8896855 w 12192000"/>
              <a:gd name="connsiteY3" fmla="*/ 6858000 h 6858000"/>
              <a:gd name="connsiteX4" fmla="*/ 12192000 w 12192000"/>
              <a:gd name="connsiteY4" fmla="*/ 1343491 h 6858000"/>
              <a:gd name="connsiteX5" fmla="*/ 12192000 w 12192000"/>
              <a:gd name="connsiteY5" fmla="*/ 3432438 h 6858000"/>
              <a:gd name="connsiteX6" fmla="*/ 8766438 w 12192000"/>
              <a:gd name="connsiteY6" fmla="*/ 6858000 h 6858000"/>
              <a:gd name="connsiteX7" fmla="*/ 6677492 w 12192000"/>
              <a:gd name="connsiteY7" fmla="*/ 68580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1213075 h 6858000"/>
              <a:gd name="connsiteX11" fmla="*/ 6547076 w 12192000"/>
              <a:gd name="connsiteY11" fmla="*/ 6858000 h 6858000"/>
              <a:gd name="connsiteX12" fmla="*/ 4458130 w 12192000"/>
              <a:gd name="connsiteY12" fmla="*/ 6858000 h 6858000"/>
              <a:gd name="connsiteX13" fmla="*/ 11316128 w 12192000"/>
              <a:gd name="connsiteY13" fmla="*/ 2 h 6858000"/>
              <a:gd name="connsiteX14" fmla="*/ 11176002 w 12192000"/>
              <a:gd name="connsiteY14" fmla="*/ 2 h 6858000"/>
              <a:gd name="connsiteX15" fmla="*/ 4318004 w 12192000"/>
              <a:gd name="connsiteY15" fmla="*/ 6858000 h 6858000"/>
              <a:gd name="connsiteX16" fmla="*/ 2266186 w 12192000"/>
              <a:gd name="connsiteY16" fmla="*/ 6858000 h 6858000"/>
              <a:gd name="connsiteX17" fmla="*/ 2247622 w 12192000"/>
              <a:gd name="connsiteY17" fmla="*/ 6839436 h 6858000"/>
              <a:gd name="connsiteX18" fmla="*/ 9087055 w 12192000"/>
              <a:gd name="connsiteY18" fmla="*/ 2 h 6858000"/>
              <a:gd name="connsiteX19" fmla="*/ 2 w 12192000"/>
              <a:gd name="connsiteY19" fmla="*/ 2 h 6858000"/>
              <a:gd name="connsiteX20" fmla="*/ 2 w 12192000"/>
              <a:gd name="connsiteY20" fmla="*/ 6858000 h 6858000"/>
              <a:gd name="connsiteX21" fmla="*/ 0 w 12192000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12192000" y="3562854"/>
                </a:moveTo>
                <a:lnTo>
                  <a:pt x="12192000" y="5651801"/>
                </a:lnTo>
                <a:lnTo>
                  <a:pt x="10985801" y="6858000"/>
                </a:lnTo>
                <a:lnTo>
                  <a:pt x="8896855" y="6858000"/>
                </a:lnTo>
                <a:close/>
                <a:moveTo>
                  <a:pt x="12192000" y="1343491"/>
                </a:moveTo>
                <a:lnTo>
                  <a:pt x="12192000" y="3432438"/>
                </a:lnTo>
                <a:lnTo>
                  <a:pt x="8766438" y="6858000"/>
                </a:lnTo>
                <a:lnTo>
                  <a:pt x="6677492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213075"/>
                </a:lnTo>
                <a:lnTo>
                  <a:pt x="6547076" y="6858000"/>
                </a:lnTo>
                <a:lnTo>
                  <a:pt x="4458130" y="6858000"/>
                </a:lnTo>
                <a:lnTo>
                  <a:pt x="11316128" y="2"/>
                </a:lnTo>
                <a:lnTo>
                  <a:pt x="11176002" y="2"/>
                </a:lnTo>
                <a:lnTo>
                  <a:pt x="4318004" y="6858000"/>
                </a:lnTo>
                <a:lnTo>
                  <a:pt x="2266186" y="6858000"/>
                </a:lnTo>
                <a:lnTo>
                  <a:pt x="2247622" y="6839436"/>
                </a:lnTo>
                <a:lnTo>
                  <a:pt x="9087055" y="2"/>
                </a:lnTo>
                <a:lnTo>
                  <a:pt x="2" y="2"/>
                </a:lnTo>
                <a:lnTo>
                  <a:pt x="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CUTS">
            <a:extLst>
              <a:ext uri="{FF2B5EF4-FFF2-40B4-BE49-F238E27FC236}">
                <a16:creationId xmlns:a16="http://schemas.microsoft.com/office/drawing/2014/main" id="{20D7C606-3C29-294A-AB41-C536CFED225E}"/>
              </a:ext>
            </a:extLst>
          </p:cNvPr>
          <p:cNvSpPr/>
          <p:nvPr userDrawn="1"/>
        </p:nvSpPr>
        <p:spPr>
          <a:xfrm>
            <a:off x="1" y="0"/>
            <a:ext cx="12191999" cy="6857999"/>
          </a:xfrm>
          <a:custGeom>
            <a:avLst/>
            <a:gdLst>
              <a:gd name="connsiteX0" fmla="*/ 12191999 w 12191999"/>
              <a:gd name="connsiteY0" fmla="*/ 5651798 h 6857999"/>
              <a:gd name="connsiteX1" fmla="*/ 12191999 w 12191999"/>
              <a:gd name="connsiteY1" fmla="*/ 6857999 h 6857999"/>
              <a:gd name="connsiteX2" fmla="*/ 10985798 w 12191999"/>
              <a:gd name="connsiteY2" fmla="*/ 6857999 h 6857999"/>
              <a:gd name="connsiteX3" fmla="*/ 12191999 w 12191999"/>
              <a:gd name="connsiteY3" fmla="*/ 3432435 h 6857999"/>
              <a:gd name="connsiteX4" fmla="*/ 12191999 w 12191999"/>
              <a:gd name="connsiteY4" fmla="*/ 3562851 h 6857999"/>
              <a:gd name="connsiteX5" fmla="*/ 8896852 w 12191999"/>
              <a:gd name="connsiteY5" fmla="*/ 6857999 h 6857999"/>
              <a:gd name="connsiteX6" fmla="*/ 8766435 w 12191999"/>
              <a:gd name="connsiteY6" fmla="*/ 6857999 h 6857999"/>
              <a:gd name="connsiteX7" fmla="*/ 12191999 w 12191999"/>
              <a:gd name="connsiteY7" fmla="*/ 1213072 h 6857999"/>
              <a:gd name="connsiteX8" fmla="*/ 12191999 w 12191999"/>
              <a:gd name="connsiteY8" fmla="*/ 1343488 h 6857999"/>
              <a:gd name="connsiteX9" fmla="*/ 6677489 w 12191999"/>
              <a:gd name="connsiteY9" fmla="*/ 6857999 h 6857999"/>
              <a:gd name="connsiteX10" fmla="*/ 6547073 w 12191999"/>
              <a:gd name="connsiteY10" fmla="*/ 6857999 h 6857999"/>
              <a:gd name="connsiteX11" fmla="*/ 11176000 w 12191999"/>
              <a:gd name="connsiteY11" fmla="*/ 0 h 6857999"/>
              <a:gd name="connsiteX12" fmla="*/ 11316126 w 12191999"/>
              <a:gd name="connsiteY12" fmla="*/ 0 h 6857999"/>
              <a:gd name="connsiteX13" fmla="*/ 4458127 w 12191999"/>
              <a:gd name="connsiteY13" fmla="*/ 6857999 h 6857999"/>
              <a:gd name="connsiteX14" fmla="*/ 4318001 w 12191999"/>
              <a:gd name="connsiteY14" fmla="*/ 6857999 h 6857999"/>
              <a:gd name="connsiteX15" fmla="*/ 0 w 12191999"/>
              <a:gd name="connsiteY15" fmla="*/ 0 h 6857999"/>
              <a:gd name="connsiteX16" fmla="*/ 9087053 w 12191999"/>
              <a:gd name="connsiteY16" fmla="*/ 0 h 6857999"/>
              <a:gd name="connsiteX17" fmla="*/ 2247620 w 12191999"/>
              <a:gd name="connsiteY17" fmla="*/ 6839434 h 6857999"/>
              <a:gd name="connsiteX18" fmla="*/ 2266185 w 12191999"/>
              <a:gd name="connsiteY18" fmla="*/ 6857999 h 6857999"/>
              <a:gd name="connsiteX19" fmla="*/ 0 w 12191999"/>
              <a:gd name="connsiteY19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9" h="6857999">
                <a:moveTo>
                  <a:pt x="12191999" y="5651798"/>
                </a:moveTo>
                <a:lnTo>
                  <a:pt x="12191999" y="6857999"/>
                </a:lnTo>
                <a:lnTo>
                  <a:pt x="10985798" y="6857999"/>
                </a:lnTo>
                <a:close/>
                <a:moveTo>
                  <a:pt x="12191999" y="3432435"/>
                </a:moveTo>
                <a:lnTo>
                  <a:pt x="12191999" y="3562851"/>
                </a:lnTo>
                <a:lnTo>
                  <a:pt x="8896852" y="6857999"/>
                </a:lnTo>
                <a:lnTo>
                  <a:pt x="8766435" y="6857999"/>
                </a:lnTo>
                <a:close/>
                <a:moveTo>
                  <a:pt x="12191999" y="1213072"/>
                </a:moveTo>
                <a:lnTo>
                  <a:pt x="12191999" y="1343488"/>
                </a:lnTo>
                <a:lnTo>
                  <a:pt x="6677489" y="6857999"/>
                </a:lnTo>
                <a:lnTo>
                  <a:pt x="6547073" y="6857999"/>
                </a:lnTo>
                <a:close/>
                <a:moveTo>
                  <a:pt x="11176000" y="0"/>
                </a:moveTo>
                <a:lnTo>
                  <a:pt x="11316126" y="0"/>
                </a:lnTo>
                <a:lnTo>
                  <a:pt x="4458127" y="6857999"/>
                </a:lnTo>
                <a:lnTo>
                  <a:pt x="4318001" y="6857999"/>
                </a:lnTo>
                <a:close/>
                <a:moveTo>
                  <a:pt x="0" y="0"/>
                </a:moveTo>
                <a:lnTo>
                  <a:pt x="9087053" y="0"/>
                </a:lnTo>
                <a:lnTo>
                  <a:pt x="2247620" y="6839434"/>
                </a:lnTo>
                <a:lnTo>
                  <a:pt x="2266185" y="6857999"/>
                </a:lnTo>
                <a:lnTo>
                  <a:pt x="0" y="6857999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3947AE7F-84E7-4B67-9A38-296F34BCA5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3817" y="5913882"/>
            <a:ext cx="836790" cy="556787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94944" y="2055351"/>
            <a:ext cx="4636008" cy="9784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solidFill>
                  <a:schemeClr val="tx1"/>
                </a:solidFill>
                <a:latin typeface="Titillium" pitchFamily="2" charset="77"/>
              </a:defRPr>
            </a:lvl1pPr>
          </a:lstStyle>
          <a:p>
            <a:r>
              <a:rPr lang="en-US"/>
              <a:t>Click to edit Content and Copy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3122713"/>
            <a:ext cx="3625850" cy="1025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00" b="1" i="0">
                <a:solidFill>
                  <a:schemeClr val="accent5"/>
                </a:solidFill>
                <a:latin typeface="Titillium" pitchFamily="2" charset="77"/>
              </a:defRPr>
            </a:lvl1pPr>
            <a:lvl2pPr marL="4572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2pPr>
            <a:lvl3pPr marL="9144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3pPr>
            <a:lvl4pPr marL="13716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4pPr>
            <a:lvl5pPr marL="18288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Subtitle of Section</a:t>
            </a:r>
          </a:p>
        </p:txBody>
      </p:sp>
      <p:sp>
        <p:nvSpPr>
          <p:cNvPr id="18" name="RED RIGHT BOTTOM CORNER">
            <a:extLst>
              <a:ext uri="{FF2B5EF4-FFF2-40B4-BE49-F238E27FC236}">
                <a16:creationId xmlns:a16="http://schemas.microsoft.com/office/drawing/2014/main" id="{4D193DE4-498F-1D4F-A1A0-3C9497271EE7}"/>
              </a:ext>
            </a:extLst>
          </p:cNvPr>
          <p:cNvSpPr/>
          <p:nvPr userDrawn="1"/>
        </p:nvSpPr>
        <p:spPr>
          <a:xfrm flipH="1">
            <a:off x="11163300" y="5843368"/>
            <a:ext cx="1028700" cy="1028699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813817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2468089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Chart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D0846E2A-2D02-DD40-A0A9-14CF7831ED2C}"/>
              </a:ext>
            </a:extLst>
          </p:cNvPr>
          <p:cNvSpPr/>
          <p:nvPr userDrawn="1"/>
        </p:nvSpPr>
        <p:spPr>
          <a:xfrm>
            <a:off x="8661981" y="3481052"/>
            <a:ext cx="3530019" cy="3429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0509F69A-49F4-5542-8DE0-771CDD1B74B6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8661980" y="3481053"/>
            <a:ext cx="3529584" cy="3374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Click on the icon below to get started.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023163" y="-52851"/>
            <a:ext cx="3530019" cy="3429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5023037" y="-798"/>
            <a:ext cx="3522830" cy="33769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Click on the icon below to get started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9F1727-060D-CB4C-A558-1772E482BE65}"/>
              </a:ext>
            </a:extLst>
          </p:cNvPr>
          <p:cNvSpPr/>
          <p:nvPr userDrawn="1"/>
        </p:nvSpPr>
        <p:spPr>
          <a:xfrm>
            <a:off x="8661981" y="-52851"/>
            <a:ext cx="3530019" cy="3429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E88E7306-A946-B946-9D31-211684649467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661981" y="-797"/>
            <a:ext cx="3530019" cy="337694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Click on the icon below to get started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9FD18B-B204-714D-8235-35B41F9C9D2D}"/>
              </a:ext>
            </a:extLst>
          </p:cNvPr>
          <p:cNvSpPr/>
          <p:nvPr userDrawn="1"/>
        </p:nvSpPr>
        <p:spPr>
          <a:xfrm>
            <a:off x="5023163" y="3481051"/>
            <a:ext cx="3530019" cy="3429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3D764691-7D6C-5744-852B-195BC99C988C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023037" y="3481052"/>
            <a:ext cx="3522830" cy="33769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Click on the icon below to get started.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7BE887B3-0DBE-6D4B-94BB-BFE805438AF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6549" y="1901951"/>
            <a:ext cx="3695940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600"/>
              </a:lnSpc>
              <a:spcBef>
                <a:spcPts val="480"/>
              </a:spcBef>
              <a:defRPr sz="2000"/>
            </a:lvl1pPr>
            <a:lvl2pPr>
              <a:lnSpc>
                <a:spcPts val="2600"/>
              </a:lnSpc>
              <a:spcBef>
                <a:spcPts val="480"/>
              </a:spcBef>
              <a:defRPr sz="1800"/>
            </a:lvl2pPr>
            <a:lvl3pPr>
              <a:lnSpc>
                <a:spcPts val="2600"/>
              </a:lnSpc>
              <a:spcBef>
                <a:spcPts val="480"/>
              </a:spcBef>
              <a:defRPr sz="1600"/>
            </a:lvl3pPr>
            <a:lvl4pPr>
              <a:lnSpc>
                <a:spcPts val="2600"/>
              </a:lnSpc>
              <a:spcBef>
                <a:spcPts val="480"/>
              </a:spcBef>
              <a:defRPr sz="1400"/>
            </a:lvl4pPr>
            <a:lvl5pPr>
              <a:lnSpc>
                <a:spcPts val="2600"/>
              </a:lnSpc>
              <a:spcBef>
                <a:spcPts val="48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CD5334B-FD8A-3248-B71F-B5D95AE44F65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EEC44D5-A01F-D34A-9880-80335A5000F4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Slide Number Placeholder 6">
            <a:extLst>
              <a:ext uri="{FF2B5EF4-FFF2-40B4-BE49-F238E27FC236}">
                <a16:creationId xmlns:a16="http://schemas.microsoft.com/office/drawing/2014/main" id="{3CD6296D-30F2-9149-8665-7D382E941DE7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005819-F991-3342-8650-5339DEBA1D10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369417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Multi Chart Gray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3694176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279976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Char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023163" y="-52852"/>
            <a:ext cx="3530019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5023037" y="-52851"/>
            <a:ext cx="3345459" cy="32725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Click on the icon below to get started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9F1727-060D-CB4C-A558-1772E482BE65}"/>
              </a:ext>
            </a:extLst>
          </p:cNvPr>
          <p:cNvSpPr/>
          <p:nvPr userDrawn="1"/>
        </p:nvSpPr>
        <p:spPr>
          <a:xfrm>
            <a:off x="8661981" y="-52851"/>
            <a:ext cx="3530019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E88E7306-A946-B946-9D31-211684649467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43885" y="-52851"/>
            <a:ext cx="3348115" cy="327258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Click on the icon below to get started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9FD18B-B204-714D-8235-35B41F9C9D2D}"/>
              </a:ext>
            </a:extLst>
          </p:cNvPr>
          <p:cNvSpPr/>
          <p:nvPr userDrawn="1"/>
        </p:nvSpPr>
        <p:spPr>
          <a:xfrm>
            <a:off x="5023163" y="3481051"/>
            <a:ext cx="3530019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3D764691-7D6C-5744-852B-195BC99C988C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023037" y="3481051"/>
            <a:ext cx="3345459" cy="291206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Click on the icon below to get started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846E2A-2D02-DD40-A0A9-14CF7831ED2C}"/>
              </a:ext>
            </a:extLst>
          </p:cNvPr>
          <p:cNvSpPr/>
          <p:nvPr userDrawn="1"/>
        </p:nvSpPr>
        <p:spPr>
          <a:xfrm>
            <a:off x="8661981" y="3481052"/>
            <a:ext cx="3530019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0509F69A-49F4-5542-8DE0-771CDD1B74B6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8843885" y="3481051"/>
            <a:ext cx="3232001" cy="28863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Click on the icon below to get started.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D7E0B08-28C9-CF43-9538-AF41D8828694}"/>
              </a:ext>
            </a:extLst>
          </p:cNvPr>
          <p:cNvCxnSpPr/>
          <p:nvPr userDrawn="1"/>
        </p:nvCxnSpPr>
        <p:spPr>
          <a:xfrm>
            <a:off x="5023037" y="3350398"/>
            <a:ext cx="7354493" cy="0"/>
          </a:xfrm>
          <a:prstGeom prst="line">
            <a:avLst/>
          </a:prstGeom>
          <a:ln w="25400">
            <a:solidFill>
              <a:srgbClr val="0D36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CB478B-17FF-A940-A65A-25405E6D2BDE}"/>
              </a:ext>
            </a:extLst>
          </p:cNvPr>
          <p:cNvCxnSpPr/>
          <p:nvPr userDrawn="1"/>
        </p:nvCxnSpPr>
        <p:spPr>
          <a:xfrm>
            <a:off x="8606190" y="-118755"/>
            <a:ext cx="0" cy="7028807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87A0D5D-7A9E-BE49-9C45-8995DC211AEE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2A07BA-674E-DE4D-AA6D-19BE69E5FA38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34DEC11C-C74F-DD49-82B1-2A1567384F47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F846EC-35C2-8943-BD7B-76219599A325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369417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Multi Chart White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3694176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7BE887B3-0DBE-6D4B-94BB-BFE805438AF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6549" y="1901951"/>
            <a:ext cx="3695940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600"/>
              </a:lnSpc>
              <a:spcBef>
                <a:spcPts val="480"/>
              </a:spcBef>
              <a:defRPr sz="2000"/>
            </a:lvl1pPr>
            <a:lvl2pPr>
              <a:lnSpc>
                <a:spcPts val="2600"/>
              </a:lnSpc>
              <a:spcBef>
                <a:spcPts val="480"/>
              </a:spcBef>
              <a:defRPr sz="1800"/>
            </a:lvl2pPr>
            <a:lvl3pPr>
              <a:lnSpc>
                <a:spcPts val="2600"/>
              </a:lnSpc>
              <a:spcBef>
                <a:spcPts val="480"/>
              </a:spcBef>
              <a:defRPr sz="1600"/>
            </a:lvl3pPr>
            <a:lvl4pPr>
              <a:lnSpc>
                <a:spcPts val="2600"/>
              </a:lnSpc>
              <a:spcBef>
                <a:spcPts val="480"/>
              </a:spcBef>
              <a:defRPr sz="1400"/>
            </a:lvl4pPr>
            <a:lvl5pPr>
              <a:lnSpc>
                <a:spcPts val="2600"/>
              </a:lnSpc>
              <a:spcBef>
                <a:spcPts val="48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54956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D215420-1B64-B645-984B-723678470C9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D5D330-C486-A54B-A1E5-1AA2408C0BDB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black sign with white text&#10;&#10;Description automatically generated">
            <a:extLst>
              <a:ext uri="{FF2B5EF4-FFF2-40B4-BE49-F238E27FC236}">
                <a16:creationId xmlns:a16="http://schemas.microsoft.com/office/drawing/2014/main" id="{DB150242-180A-9441-BF43-54936D2F23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947344CA-01B7-1C41-8500-42E0AB94ABB6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4029DD-E750-8147-8CD6-330CCD028F99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26127510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D215420-1B64-B645-984B-723678470C9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D5D330-C486-A54B-A1E5-1AA2408C0BDB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black sign with white text&#10;&#10;Description automatically generated">
            <a:extLst>
              <a:ext uri="{FF2B5EF4-FFF2-40B4-BE49-F238E27FC236}">
                <a16:creationId xmlns:a16="http://schemas.microsoft.com/office/drawing/2014/main" id="{DB150242-180A-9441-BF43-54936D2F23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947344CA-01B7-1C41-8500-42E0AB94ABB6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4029DD-E750-8147-8CD6-330CCD028F99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Blank with Heading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0939329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Bottom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969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F286E66-7073-A04E-8C8E-72B53D3A9B0B}"/>
              </a:ext>
            </a:extLst>
          </p:cNvPr>
          <p:cNvSpPr txBox="1"/>
          <p:nvPr userDrawn="1"/>
        </p:nvSpPr>
        <p:spPr>
          <a:xfrm>
            <a:off x="1161253" y="6356325"/>
            <a:ext cx="47304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CONFIDENTIAL: Contents of this document are for internal Red Lion Controls use only</a:t>
            </a:r>
          </a:p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7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BA7AB0-543E-FF4B-83C4-EA77AD8B6F37}"/>
              </a:ext>
            </a:extLst>
          </p:cNvPr>
          <p:cNvSpPr/>
          <p:nvPr userDrawn="1"/>
        </p:nvSpPr>
        <p:spPr>
          <a:xfrm>
            <a:off x="0" y="5760721"/>
            <a:ext cx="12203113" cy="10972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White Logo">
            <a:extLst>
              <a:ext uri="{FF2B5EF4-FFF2-40B4-BE49-F238E27FC236}">
                <a16:creationId xmlns:a16="http://schemas.microsoft.com/office/drawing/2014/main" id="{5A4E378A-5C03-1246-ABB3-1B62938D7E7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F711247-F8A4-954D-ACF7-EFC3A0203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780253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solidFill>
                  <a:schemeClr val="bg1"/>
                </a:solidFill>
                <a:latin typeface="Titillium" pitchFamily="2" charset="77"/>
              </a:defRPr>
            </a:lvl1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C49EF96-2BB2-3A44-8684-78C3BE4F32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6381009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5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4029DD-E750-8147-8CD6-330CCD028F99}"/>
              </a:ext>
            </a:extLst>
          </p:cNvPr>
          <p:cNvSpPr txBox="1"/>
          <p:nvPr userDrawn="1"/>
        </p:nvSpPr>
        <p:spPr>
          <a:xfrm>
            <a:off x="983113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12390731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A black sign with white text&#10;&#10;Description automatically generated">
            <a:extLst>
              <a:ext uri="{FF2B5EF4-FFF2-40B4-BE49-F238E27FC236}">
                <a16:creationId xmlns:a16="http://schemas.microsoft.com/office/drawing/2014/main" id="{72279C0D-137E-F848-BEC0-CA224AEF3C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41A502B-B396-CF47-BD1A-3F06D0E6DB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4" y="0"/>
            <a:ext cx="5997818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048EA2-9A2D-1846-B4D7-E4130420E3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163369C0-997D-F14C-80FC-9A107E392A96}"/>
              </a:ext>
            </a:extLst>
          </p:cNvPr>
          <p:cNvSpPr/>
          <p:nvPr userDrawn="1"/>
        </p:nvSpPr>
        <p:spPr>
          <a:xfrm flipH="1">
            <a:off x="-193042" y="-111512"/>
            <a:ext cx="6581422" cy="6980663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  <p:pic>
        <p:nvPicPr>
          <p:cNvPr id="12" name="Picture 11" descr="A black sign with white text&#10;&#10;Description automatically generated">
            <a:extLst>
              <a:ext uri="{FF2B5EF4-FFF2-40B4-BE49-F238E27FC236}">
                <a16:creationId xmlns:a16="http://schemas.microsoft.com/office/drawing/2014/main" id="{EA25D2E6-C6DB-FD4C-87AC-23243B47D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408" y="2240894"/>
            <a:ext cx="2927386" cy="201109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8C7264E5-6245-8343-B7D1-78C4281DCDCF}"/>
              </a:ext>
            </a:extLst>
          </p:cNvPr>
          <p:cNvSpPr txBox="1">
            <a:spLocks/>
          </p:cNvSpPr>
          <p:nvPr userDrawn="1"/>
        </p:nvSpPr>
        <p:spPr>
          <a:xfrm>
            <a:off x="1288135" y="2678486"/>
            <a:ext cx="3822390" cy="45589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rgbClr val="E9E9E9"/>
                </a:solidFill>
                <a:latin typeface="Titillium" panose="00000500000000000000" pitchFamily="50" charset="0"/>
              </a:rPr>
              <a:t>FOR MORE INFORMATION</a:t>
            </a:r>
            <a:endParaRPr lang="en-US" sz="3600">
              <a:solidFill>
                <a:srgbClr val="E9E9E9"/>
              </a:solidFill>
              <a:latin typeface="Titillium" panose="00000500000000000000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3ED2DC-A781-0543-9C21-E54300998FB9}"/>
              </a:ext>
            </a:extLst>
          </p:cNvPr>
          <p:cNvSpPr txBox="1"/>
          <p:nvPr userDrawn="1"/>
        </p:nvSpPr>
        <p:spPr>
          <a:xfrm>
            <a:off x="1561359" y="3926184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+1 (717) 767-6511</a:t>
            </a:r>
          </a:p>
          <a:p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270DEE-2A79-D347-B229-00DC5E2BFA5D}"/>
              </a:ext>
            </a:extLst>
          </p:cNvPr>
          <p:cNvSpPr txBox="1"/>
          <p:nvPr userDrawn="1"/>
        </p:nvSpPr>
        <p:spPr>
          <a:xfrm>
            <a:off x="1757725" y="4303127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E9E9E9"/>
                </a:solidFill>
                <a:latin typeface="Titillium Bd" panose="00000800000000000000" pitchFamily="50" charset="0"/>
                <a:sym typeface="Titillium Bd" panose="00000800000000000000" pitchFamily="50" charset="0"/>
              </a:rPr>
              <a:t>WWW.REDLION.NET</a:t>
            </a:r>
          </a:p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724" y="4484607"/>
            <a:ext cx="4183093" cy="17650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0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14231226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248" name="Group 24">
            <a:extLst>
              <a:ext uri="{FF2B5EF4-FFF2-40B4-BE49-F238E27FC236}">
                <a16:creationId xmlns:a16="http://schemas.microsoft.com/office/drawing/2014/main" id="{F352FE95-0504-4970-87FF-73D921EFF8F7}"/>
              </a:ext>
            </a:extLst>
          </p:cNvPr>
          <p:cNvGrpSpPr>
            <a:grpSpLocks/>
          </p:cNvGrpSpPr>
          <p:nvPr/>
        </p:nvGrpSpPr>
        <p:grpSpPr bwMode="auto">
          <a:xfrm>
            <a:off x="0" y="898526"/>
            <a:ext cx="12192000" cy="5578475"/>
            <a:chOff x="0" y="566"/>
            <a:chExt cx="5760" cy="3514"/>
          </a:xfrm>
        </p:grpSpPr>
        <p:pic>
          <p:nvPicPr>
            <p:cNvPr id="52246" name="Picture 22">
              <a:extLst>
                <a:ext uri="{FF2B5EF4-FFF2-40B4-BE49-F238E27FC236}">
                  <a16:creationId xmlns:a16="http://schemas.microsoft.com/office/drawing/2014/main" id="{A9947679-925F-4B93-A21B-B2AE498EEF9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8" y="3708"/>
              <a:ext cx="1632" cy="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240" name="Picture 9">
              <a:extLst>
                <a:ext uri="{FF2B5EF4-FFF2-40B4-BE49-F238E27FC236}">
                  <a16:creationId xmlns:a16="http://schemas.microsoft.com/office/drawing/2014/main" id="{9C6729BB-ED92-4554-BE56-2348E12278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66"/>
              <a:ext cx="5760" cy="3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241" name="Picture 8">
              <a:extLst>
                <a:ext uri="{FF2B5EF4-FFF2-40B4-BE49-F238E27FC236}">
                  <a16:creationId xmlns:a16="http://schemas.microsoft.com/office/drawing/2014/main" id="{9B32255E-17E4-4157-9138-B2AD50BFE01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6" y="3436"/>
              <a:ext cx="1920" cy="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2229" name="Rectangle 5">
            <a:extLst>
              <a:ext uri="{FF2B5EF4-FFF2-40B4-BE49-F238E27FC236}">
                <a16:creationId xmlns:a16="http://schemas.microsoft.com/office/drawing/2014/main" id="{773C2339-24FA-47B3-B185-F4B6629767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064000" y="2286000"/>
            <a:ext cx="8128000" cy="1143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2230" name="Rectangle 6">
            <a:extLst>
              <a:ext uri="{FF2B5EF4-FFF2-40B4-BE49-F238E27FC236}">
                <a16:creationId xmlns:a16="http://schemas.microsoft.com/office/drawing/2014/main" id="{8ABCACD6-A084-4395-8FC4-24E74F21695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064000" y="3352800"/>
            <a:ext cx="8128000" cy="914400"/>
          </a:xfrm>
        </p:spPr>
        <p:txBody>
          <a:bodyPr/>
          <a:lstStyle>
            <a:lvl1pPr marL="0" indent="0">
              <a:buFontTx/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14301231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51DEA-CE9D-499A-A7D1-7F97CD151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51FB7C-086E-42AD-B943-B6BA591D8A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B0F12-5B62-447E-8B0D-37C31B49E2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EE402E-CCB3-4AB0-9FFE-FADA34A6446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76964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4A27AE-82D7-434C-B018-7AAF335AA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CC6D4D-B8F2-4377-B90E-9E3CAD9B8A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6238D8-6332-4C68-A846-39682BA870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C2E964-B068-4F59-84E9-7A815AE3486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07317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E4A80E-0D7C-431F-95BF-FF36AFBCE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A57EAC-6DFA-4ABC-B50E-3B45DED117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6400" y="1524000"/>
            <a:ext cx="574040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131667-F1F2-4F18-840A-3854F0921D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50000" y="1524000"/>
            <a:ext cx="574040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47E522-73B7-4239-8FD8-D70E0DC567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638FEF7-D902-4B95-94CF-5B4BD7AEC85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42739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m Title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94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42CF63-24BF-524F-A533-BD88CEC05E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sp>
        <p:nvSpPr>
          <p:cNvPr id="3" name="Right Triangle 2">
            <a:extLst>
              <a:ext uri="{FF2B5EF4-FFF2-40B4-BE49-F238E27FC236}">
                <a16:creationId xmlns:a16="http://schemas.microsoft.com/office/drawing/2014/main" id="{BF71E216-5CAC-D44F-9867-E1E9699765AC}"/>
              </a:ext>
            </a:extLst>
          </p:cNvPr>
          <p:cNvSpPr/>
          <p:nvPr userDrawn="1"/>
        </p:nvSpPr>
        <p:spPr>
          <a:xfrm rot="754245">
            <a:off x="1728679" y="622482"/>
            <a:ext cx="8996410" cy="6206706"/>
          </a:xfrm>
          <a:custGeom>
            <a:avLst/>
            <a:gdLst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10307782 w 10307782"/>
              <a:gd name="connsiteY2" fmla="*/ 7107382 h 7107382"/>
              <a:gd name="connsiteX3" fmla="*/ 0 w 10307782"/>
              <a:gd name="connsiteY3" fmla="*/ 7107382 h 7107382"/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1296311 w 10307782"/>
              <a:gd name="connsiteY2" fmla="*/ 900676 h 7107382"/>
              <a:gd name="connsiteX3" fmla="*/ 10307782 w 10307782"/>
              <a:gd name="connsiteY3" fmla="*/ 7107382 h 7107382"/>
              <a:gd name="connsiteX4" fmla="*/ 0 w 10307782"/>
              <a:gd name="connsiteY4" fmla="*/ 7107382 h 7107382"/>
              <a:gd name="connsiteX0" fmla="*/ 0 w 10307782"/>
              <a:gd name="connsiteY0" fmla="*/ 6206706 h 6206706"/>
              <a:gd name="connsiteX1" fmla="*/ 113 w 10307782"/>
              <a:gd name="connsiteY1" fmla="*/ 295594 h 6206706"/>
              <a:gd name="connsiteX2" fmla="*/ 1296311 w 10307782"/>
              <a:gd name="connsiteY2" fmla="*/ 0 h 6206706"/>
              <a:gd name="connsiteX3" fmla="*/ 10307782 w 10307782"/>
              <a:gd name="connsiteY3" fmla="*/ 6206706 h 6206706"/>
              <a:gd name="connsiteX4" fmla="*/ 0 w 10307782"/>
              <a:gd name="connsiteY4" fmla="*/ 6206706 h 6206706"/>
              <a:gd name="connsiteX0" fmla="*/ 0 w 8996410"/>
              <a:gd name="connsiteY0" fmla="*/ 6206706 h 6206706"/>
              <a:gd name="connsiteX1" fmla="*/ 113 w 8996410"/>
              <a:gd name="connsiteY1" fmla="*/ 295594 h 6206706"/>
              <a:gd name="connsiteX2" fmla="*/ 1296311 w 8996410"/>
              <a:gd name="connsiteY2" fmla="*/ 0 h 6206706"/>
              <a:gd name="connsiteX3" fmla="*/ 8996410 w 8996410"/>
              <a:gd name="connsiteY3" fmla="*/ 5302833 h 6206706"/>
              <a:gd name="connsiteX4" fmla="*/ 0 w 8996410"/>
              <a:gd name="connsiteY4" fmla="*/ 6206706 h 6206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6410" h="6206706">
                <a:moveTo>
                  <a:pt x="0" y="6206706"/>
                </a:moveTo>
                <a:cubicBezTo>
                  <a:pt x="38" y="4236335"/>
                  <a:pt x="75" y="2265965"/>
                  <a:pt x="113" y="295594"/>
                </a:cubicBezTo>
                <a:lnTo>
                  <a:pt x="1296311" y="0"/>
                </a:lnTo>
                <a:lnTo>
                  <a:pt x="8996410" y="5302833"/>
                </a:lnTo>
                <a:lnTo>
                  <a:pt x="0" y="6206706"/>
                </a:lnTo>
                <a:close/>
              </a:path>
            </a:pathLst>
          </a:custGeom>
          <a:solidFill>
            <a:schemeClr val="accent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BD8F948B-B7C6-1D4B-ABB9-4C848955F36C}"/>
              </a:ext>
            </a:extLst>
          </p:cNvPr>
          <p:cNvSpPr/>
          <p:nvPr userDrawn="1"/>
        </p:nvSpPr>
        <p:spPr>
          <a:xfrm rot="330679">
            <a:off x="815013" y="371578"/>
            <a:ext cx="9461569" cy="6569226"/>
          </a:xfrm>
          <a:custGeom>
            <a:avLst/>
            <a:gdLst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10307782 w 10307782"/>
              <a:gd name="connsiteY2" fmla="*/ 7107382 h 7107382"/>
              <a:gd name="connsiteX3" fmla="*/ 0 w 10307782"/>
              <a:gd name="connsiteY3" fmla="*/ 7107382 h 7107382"/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809818 w 10307782"/>
              <a:gd name="connsiteY2" fmla="*/ 575435 h 7107382"/>
              <a:gd name="connsiteX3" fmla="*/ 10307782 w 10307782"/>
              <a:gd name="connsiteY3" fmla="*/ 7107382 h 7107382"/>
              <a:gd name="connsiteX4" fmla="*/ 0 w 10307782"/>
              <a:gd name="connsiteY4" fmla="*/ 7107382 h 7107382"/>
              <a:gd name="connsiteX0" fmla="*/ 2204 w 10309986"/>
              <a:gd name="connsiteY0" fmla="*/ 6531947 h 6531947"/>
              <a:gd name="connsiteX1" fmla="*/ 0 w 10309986"/>
              <a:gd name="connsiteY1" fmla="*/ 58327 h 6531947"/>
              <a:gd name="connsiteX2" fmla="*/ 812022 w 10309986"/>
              <a:gd name="connsiteY2" fmla="*/ 0 h 6531947"/>
              <a:gd name="connsiteX3" fmla="*/ 10309986 w 10309986"/>
              <a:gd name="connsiteY3" fmla="*/ 6531947 h 6531947"/>
              <a:gd name="connsiteX4" fmla="*/ 2204 w 10309986"/>
              <a:gd name="connsiteY4" fmla="*/ 6531947 h 6531947"/>
              <a:gd name="connsiteX0" fmla="*/ 86 w 10307868"/>
              <a:gd name="connsiteY0" fmla="*/ 6531947 h 6531947"/>
              <a:gd name="connsiteX1" fmla="*/ 2857 w 10307868"/>
              <a:gd name="connsiteY1" fmla="*/ 36650 h 6531947"/>
              <a:gd name="connsiteX2" fmla="*/ 809904 w 10307868"/>
              <a:gd name="connsiteY2" fmla="*/ 0 h 6531947"/>
              <a:gd name="connsiteX3" fmla="*/ 10307868 w 10307868"/>
              <a:gd name="connsiteY3" fmla="*/ 6531947 h 6531947"/>
              <a:gd name="connsiteX4" fmla="*/ 86 w 10307868"/>
              <a:gd name="connsiteY4" fmla="*/ 6531947 h 6531947"/>
              <a:gd name="connsiteX0" fmla="*/ 86 w 10307868"/>
              <a:gd name="connsiteY0" fmla="*/ 6569226 h 6569226"/>
              <a:gd name="connsiteX1" fmla="*/ 2857 w 10307868"/>
              <a:gd name="connsiteY1" fmla="*/ 73929 h 6569226"/>
              <a:gd name="connsiteX2" fmla="*/ 756842 w 10307868"/>
              <a:gd name="connsiteY2" fmla="*/ 0 h 6569226"/>
              <a:gd name="connsiteX3" fmla="*/ 10307868 w 10307868"/>
              <a:gd name="connsiteY3" fmla="*/ 6569226 h 6569226"/>
              <a:gd name="connsiteX4" fmla="*/ 86 w 10307868"/>
              <a:gd name="connsiteY4" fmla="*/ 6569226 h 6569226"/>
              <a:gd name="connsiteX0" fmla="*/ 86 w 9492952"/>
              <a:gd name="connsiteY0" fmla="*/ 6569226 h 6569226"/>
              <a:gd name="connsiteX1" fmla="*/ 2857 w 9492952"/>
              <a:gd name="connsiteY1" fmla="*/ 73929 h 6569226"/>
              <a:gd name="connsiteX2" fmla="*/ 756842 w 9492952"/>
              <a:gd name="connsiteY2" fmla="*/ 0 h 6569226"/>
              <a:gd name="connsiteX3" fmla="*/ 9492952 w 9492952"/>
              <a:gd name="connsiteY3" fmla="*/ 6033069 h 6569226"/>
              <a:gd name="connsiteX4" fmla="*/ 86 w 9492952"/>
              <a:gd name="connsiteY4" fmla="*/ 6569226 h 6569226"/>
              <a:gd name="connsiteX0" fmla="*/ 86 w 9461569"/>
              <a:gd name="connsiteY0" fmla="*/ 6569226 h 6569226"/>
              <a:gd name="connsiteX1" fmla="*/ 2857 w 9461569"/>
              <a:gd name="connsiteY1" fmla="*/ 73929 h 6569226"/>
              <a:gd name="connsiteX2" fmla="*/ 756842 w 9461569"/>
              <a:gd name="connsiteY2" fmla="*/ 0 h 6569226"/>
              <a:gd name="connsiteX3" fmla="*/ 9461569 w 9461569"/>
              <a:gd name="connsiteY3" fmla="*/ 6000765 h 6569226"/>
              <a:gd name="connsiteX4" fmla="*/ 86 w 9461569"/>
              <a:gd name="connsiteY4" fmla="*/ 6569226 h 6569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61569" h="6569226">
                <a:moveTo>
                  <a:pt x="86" y="6569226"/>
                </a:moveTo>
                <a:cubicBezTo>
                  <a:pt x="-649" y="4411353"/>
                  <a:pt x="3592" y="2231802"/>
                  <a:pt x="2857" y="73929"/>
                </a:cubicBezTo>
                <a:lnTo>
                  <a:pt x="756842" y="0"/>
                </a:lnTo>
                <a:lnTo>
                  <a:pt x="9461569" y="6000765"/>
                </a:lnTo>
                <a:lnTo>
                  <a:pt x="86" y="6569226"/>
                </a:lnTo>
                <a:close/>
              </a:path>
            </a:pathLst>
          </a:custGeom>
          <a:solidFill>
            <a:schemeClr val="accent3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1307EE00-F0D5-BC49-8A5B-BEBBF8AB1695}"/>
              </a:ext>
            </a:extLst>
          </p:cNvPr>
          <p:cNvSpPr/>
          <p:nvPr userDrawn="1"/>
        </p:nvSpPr>
        <p:spPr>
          <a:xfrm>
            <a:off x="-205655" y="18898"/>
            <a:ext cx="10323280" cy="6839102"/>
          </a:xfrm>
          <a:custGeom>
            <a:avLst/>
            <a:gdLst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10307782 w 10307782"/>
              <a:gd name="connsiteY2" fmla="*/ 7107382 h 7107382"/>
              <a:gd name="connsiteX3" fmla="*/ 0 w 10307782"/>
              <a:gd name="connsiteY3" fmla="*/ 7107382 h 7107382"/>
              <a:gd name="connsiteX0" fmla="*/ 0 w 10307782"/>
              <a:gd name="connsiteY0" fmla="*/ 6823603 h 6823603"/>
              <a:gd name="connsiteX1" fmla="*/ 94593 w 10307782"/>
              <a:gd name="connsiteY1" fmla="*/ 0 h 6823603"/>
              <a:gd name="connsiteX2" fmla="*/ 10307782 w 10307782"/>
              <a:gd name="connsiteY2" fmla="*/ 6823603 h 6823603"/>
              <a:gd name="connsiteX3" fmla="*/ 0 w 10307782"/>
              <a:gd name="connsiteY3" fmla="*/ 6823603 h 6823603"/>
              <a:gd name="connsiteX0" fmla="*/ 0 w 10323280"/>
              <a:gd name="connsiteY0" fmla="*/ 6823603 h 6823603"/>
              <a:gd name="connsiteX1" fmla="*/ 94593 w 10323280"/>
              <a:gd name="connsiteY1" fmla="*/ 0 h 6823603"/>
              <a:gd name="connsiteX2" fmla="*/ 10323280 w 10323280"/>
              <a:gd name="connsiteY2" fmla="*/ 6823603 h 6823603"/>
              <a:gd name="connsiteX3" fmla="*/ 0 w 10323280"/>
              <a:gd name="connsiteY3" fmla="*/ 6823603 h 6823603"/>
              <a:gd name="connsiteX0" fmla="*/ 0 w 10323280"/>
              <a:gd name="connsiteY0" fmla="*/ 6823603 h 6839102"/>
              <a:gd name="connsiteX1" fmla="*/ 94593 w 10323280"/>
              <a:gd name="connsiteY1" fmla="*/ 0 h 6839102"/>
              <a:gd name="connsiteX2" fmla="*/ 10323280 w 10323280"/>
              <a:gd name="connsiteY2" fmla="*/ 6839102 h 6839102"/>
              <a:gd name="connsiteX3" fmla="*/ 0 w 10323280"/>
              <a:gd name="connsiteY3" fmla="*/ 6823603 h 6839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23280" h="6839102">
                <a:moveTo>
                  <a:pt x="0" y="6823603"/>
                </a:moveTo>
                <a:lnTo>
                  <a:pt x="94593" y="0"/>
                </a:lnTo>
                <a:lnTo>
                  <a:pt x="10323280" y="6839102"/>
                </a:lnTo>
                <a:lnTo>
                  <a:pt x="0" y="68236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24">
            <a:extLst>
              <a:ext uri="{FF2B5EF4-FFF2-40B4-BE49-F238E27FC236}">
                <a16:creationId xmlns:a16="http://schemas.microsoft.com/office/drawing/2014/main" id="{92704F2B-4AAC-4F45-8068-3142FE49B49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6899" y="4374570"/>
            <a:ext cx="1975646" cy="1314564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830568" y="1911096"/>
            <a:ext cx="4636008" cy="9784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b="0" i="0">
                <a:latin typeface="Titillium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839075" y="2978458"/>
            <a:ext cx="3625850" cy="1025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  <a:lvl2pPr marL="4572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2pPr>
            <a:lvl3pPr marL="9144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3pPr>
            <a:lvl4pPr marL="13716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4pPr>
            <a:lvl5pPr marL="18288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/>
              <a:t>Subtitle of Presentation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17" y="6075736"/>
            <a:ext cx="3463986" cy="14135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813817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6962251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3C97DA-D7F5-4B7E-92EA-EC4CDE1E7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5F193E-2AE6-4E38-8F53-C9EFB6818F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35EB05-9455-400E-89AE-AD3E96FCC3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B179B2-1A7B-4414-B6D2-522B2B7415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42A006-FE03-4C6A-A203-17D911F577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6173B5-F5F0-427B-B4B5-BCF21F945F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C41CFE1-20D9-4071-82D2-975EE929C6D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57459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0F51C8-9AAE-4441-90D3-23AB386A1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9398A-9070-4864-9309-681AC8C770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D2D7FDC-F3E7-41EB-988D-6854370FB52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572086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666746-4F70-4396-B33F-B75C826969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40E800-4BFF-4B30-8AB9-54AD9373D86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900882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187F36-18EE-40F8-9BF5-10DD89775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01A943-9E12-4D02-892F-790DC1DAC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76C2FF-34DD-4EA8-A8A0-3C3B5210F8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AEDCF6-CCB4-42EB-B51F-B08E02CEDB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73D7B6-144C-415C-BE82-2AC77CE427E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37906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0665D-DE56-49A1-8B71-46D04FECF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EBC6699-6E00-460C-B765-A9C43273C7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BFC947-F84B-4423-9EE0-D298752C47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9EE138-E99A-4A1E-98F0-BAE58301F6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4F6D7AE-E56C-41E3-911E-C09C79FEF31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618703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4542A-B626-4A9B-B18E-16E8D005B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0EB2A4-E200-4679-B7C8-A31EE3712B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B2EE6B-30A9-41E4-B469-1A1A4EF2FD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62862D2-3939-411F-8019-F52BF9362A1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227158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A4D6144-E580-4825-9599-980FA2907D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69400" y="0"/>
            <a:ext cx="29210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11C6CF-EC34-4EA3-B715-80410C1F6A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06400" y="0"/>
            <a:ext cx="8559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CFD82F-7878-4D57-954A-13CF1E57F8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C2DACF-C2E0-4E33-A478-B4BE4A03DF7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274291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248" name="Group 24">
            <a:extLst>
              <a:ext uri="{FF2B5EF4-FFF2-40B4-BE49-F238E27FC236}">
                <a16:creationId xmlns:a16="http://schemas.microsoft.com/office/drawing/2014/main" id="{20F0A768-82C2-4E78-A223-BEB3E3ACC952}"/>
              </a:ext>
            </a:extLst>
          </p:cNvPr>
          <p:cNvGrpSpPr>
            <a:grpSpLocks/>
          </p:cNvGrpSpPr>
          <p:nvPr/>
        </p:nvGrpSpPr>
        <p:grpSpPr bwMode="auto">
          <a:xfrm>
            <a:off x="0" y="898526"/>
            <a:ext cx="12192000" cy="5578475"/>
            <a:chOff x="0" y="566"/>
            <a:chExt cx="5760" cy="3514"/>
          </a:xfrm>
        </p:grpSpPr>
        <p:pic>
          <p:nvPicPr>
            <p:cNvPr id="52246" name="Picture 22">
              <a:extLst>
                <a:ext uri="{FF2B5EF4-FFF2-40B4-BE49-F238E27FC236}">
                  <a16:creationId xmlns:a16="http://schemas.microsoft.com/office/drawing/2014/main" id="{661AEE55-05F3-4651-86F1-8B1D5E06F69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8" y="3708"/>
              <a:ext cx="1632" cy="3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240" name="Picture 9">
              <a:extLst>
                <a:ext uri="{FF2B5EF4-FFF2-40B4-BE49-F238E27FC236}">
                  <a16:creationId xmlns:a16="http://schemas.microsoft.com/office/drawing/2014/main" id="{F3DBDE0C-EE35-4183-BF2C-4CFB887137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66"/>
              <a:ext cx="5760" cy="3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241" name="Picture 8">
              <a:extLst>
                <a:ext uri="{FF2B5EF4-FFF2-40B4-BE49-F238E27FC236}">
                  <a16:creationId xmlns:a16="http://schemas.microsoft.com/office/drawing/2014/main" id="{887A9ED5-8B95-42A6-91CA-68A8D4D93AC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6" y="3436"/>
              <a:ext cx="1920" cy="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2229" name="Rectangle 5">
            <a:extLst>
              <a:ext uri="{FF2B5EF4-FFF2-40B4-BE49-F238E27FC236}">
                <a16:creationId xmlns:a16="http://schemas.microsoft.com/office/drawing/2014/main" id="{ABCCE68D-A534-4308-8BC2-C68EC73278D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064000" y="2286000"/>
            <a:ext cx="8128000" cy="11430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altLang="en-US" noProof="0"/>
              <a:t>Click to edit Master title style</a:t>
            </a:r>
          </a:p>
        </p:txBody>
      </p:sp>
      <p:sp>
        <p:nvSpPr>
          <p:cNvPr id="52230" name="Rectangle 6">
            <a:extLst>
              <a:ext uri="{FF2B5EF4-FFF2-40B4-BE49-F238E27FC236}">
                <a16:creationId xmlns:a16="http://schemas.microsoft.com/office/drawing/2014/main" id="{28B11DDA-1BE2-4A7E-9CC1-9EB5F0B47D75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064000" y="3352800"/>
            <a:ext cx="8128000" cy="914400"/>
          </a:xfrm>
        </p:spPr>
        <p:txBody>
          <a:bodyPr/>
          <a:lstStyle>
            <a:lvl1pPr marL="0" indent="0">
              <a:buFontTx/>
              <a:buNone/>
              <a:defRPr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5647785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14ECDC-3F46-4CE6-A81B-8C8930C9E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28B0B-33A5-454B-A625-95444CF6C4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09FE5-D192-4685-B21B-AC4260A070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716863-5ADC-42C1-973C-4D5FEDD3428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776247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A3CFC9-0AEE-4632-8863-313C03FFA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BFAE5A-74B4-4378-9D1D-D34E8B2930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94FB60-90FA-4D39-B927-149A7FDAC2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E88CAFE-8D9F-4881-B1AC-24CF6D370CC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3105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92952" y="0"/>
            <a:ext cx="6099048" cy="6858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031D513C-0038-A840-BA0F-5E5095A01FB5}"/>
              </a:ext>
            </a:extLst>
          </p:cNvPr>
          <p:cNvSpPr/>
          <p:nvPr userDrawn="1"/>
        </p:nvSpPr>
        <p:spPr>
          <a:xfrm>
            <a:off x="5620938" y="2973615"/>
            <a:ext cx="950124" cy="91077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491CD6-944A-4C4A-AA24-336273FB0457}"/>
              </a:ext>
            </a:extLst>
          </p:cNvPr>
          <p:cNvSpPr txBox="1"/>
          <p:nvPr userDrawn="1"/>
        </p:nvSpPr>
        <p:spPr>
          <a:xfrm>
            <a:off x="5710990" y="3202559"/>
            <a:ext cx="770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  <a:latin typeface="+mj-lt"/>
              </a:rPr>
              <a:t>VS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B6C317-D2CE-3A4D-B860-6B95243BC75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AD97C8-94B5-4143-9125-218476B8E543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lide Number Placeholder 6">
            <a:extLst>
              <a:ext uri="{FF2B5EF4-FFF2-40B4-BE49-F238E27FC236}">
                <a16:creationId xmlns:a16="http://schemas.microsoft.com/office/drawing/2014/main" id="{0176EB27-E6A1-B349-A0E5-3A1805211186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20" descr="A black sign with white text&#10;&#10;Description automatically generated">
            <a:extLst>
              <a:ext uri="{FF2B5EF4-FFF2-40B4-BE49-F238E27FC236}">
                <a16:creationId xmlns:a16="http://schemas.microsoft.com/office/drawing/2014/main" id="{2EE990C8-BE75-2E45-9C80-2E8B9CC4438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38834FB2-55E3-CD47-A772-F786AFFF0EDA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723324" y="1902691"/>
            <a:ext cx="4571747" cy="388477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</a:t>
            </a:r>
            <a:br>
              <a:rPr lang="en-US"/>
            </a:br>
            <a:r>
              <a:rPr lang="en-US"/>
              <a:t>Click on the icon below to get started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E1837556-8C8E-D54F-983C-C6E759EAF009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856603" y="1902691"/>
            <a:ext cx="4571747" cy="388477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r>
              <a:rPr lang="en-US"/>
              <a:t>Use this for product images or smart art. </a:t>
            </a:r>
            <a:br>
              <a:rPr lang="en-US"/>
            </a:br>
            <a:r>
              <a:rPr lang="en-US"/>
              <a:t>Click on the icon below to get started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4572000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Comparison 1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4572000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51962" y="0"/>
            <a:ext cx="4572000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Comparison 2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866202" y="1150685"/>
            <a:ext cx="4572000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38901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© Copyright Red Lion 202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CONFIDENTIAL: Contents of this document are for internal Red Lion Controls use only</a:t>
            </a:r>
          </a:p>
        </p:txBody>
      </p:sp>
    </p:spTree>
    <p:extLst>
      <p:ext uri="{BB962C8B-B14F-4D97-AF65-F5344CB8AC3E}">
        <p14:creationId xmlns:p14="http://schemas.microsoft.com/office/powerpoint/2010/main" val="30850109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5D238-59E9-412E-B0E1-FAE4C702B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381B7-29CB-4B39-957E-B2EA7AA38B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6400" y="1524000"/>
            <a:ext cx="574040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27C81F-A76D-4A1C-83BF-E00B53ECEF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50000" y="1524000"/>
            <a:ext cx="5740400" cy="4953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DD162A-0FD7-412F-A007-D5C0459D8F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85EB80D-D8DF-4B62-B287-731EC7FD2E4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830427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EC847-DC7E-42C1-B941-5AD4900E0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F76F52-F3AA-45D8-85D4-00FEC8AB0C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C72BF1-BF1B-47EC-A998-2E05368311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0C9D6A-EE8A-410B-994E-95C16EEEE1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B34FF2-3FF2-4CEB-9884-FE014EF1AD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ECD890-E23C-4A4B-AA79-66A4D13424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3CD49C0-0067-4F8A-9B06-42F61738472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204387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8EF147-ED4A-4111-A921-D0AFA20BF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CFCA05-B56B-4EBB-A2EA-29BABFBDA2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04DCEB5-577B-4B92-BC80-3D18050E5C9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041610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032125-B577-4663-83C3-28E028DDB4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A3CAD9-0A9F-4390-A1DC-07F0CBE186A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485718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8A31B-055E-4BE0-8A45-66EDC306C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DC93E7-7636-4BA5-BBD9-A1B9C99101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9A1B79-8662-47B7-908E-3A45CD5D01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A6B77A-4633-46E2-83E8-E2B8F825ED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B7D0ADC-20B0-4078-A6AC-B36039709F2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00873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4CCF72-BC0A-482D-AD5F-16A85B1F7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4A575C-4D99-4754-858F-C4D609498C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F3D61-B513-4542-B1C4-D3EA63D2EB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E8AE84-8B10-4765-9D00-8A28B73FF5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FAABE4C-AAC3-4BD4-8F52-67246F46787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29106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61E2B5-E074-460C-B4BE-84547FF81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CC1DCE-520B-40C5-8C5C-21E1E33ED4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0C0A4D-1B87-4E06-9242-125FFC5362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10563A-269A-4C06-B214-0357D7966A8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02967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A637AD-CD5A-46B0-898F-D10B7AF3E6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69400" y="0"/>
            <a:ext cx="29210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F45C83-7EF3-4CAB-8E60-1723BEC73C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06400" y="0"/>
            <a:ext cx="8559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DE4E79-BA0D-476A-8A9D-7E425AA46E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2039C46-8B36-470A-933E-B06E97CB6F7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582174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 rot="10800000">
            <a:off x="1930400" y="5091114"/>
            <a:ext cx="10261600" cy="1587"/>
          </a:xfrm>
          <a:prstGeom prst="line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1229" y="4324123"/>
            <a:ext cx="9753600" cy="58521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8522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419767" y="1450775"/>
            <a:ext cx="10471392" cy="4415635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200"/>
              </a:lnSpc>
              <a:spcBef>
                <a:spcPts val="12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sz="2200" b="1" i="0">
                <a:latin typeface="+mn-lt"/>
                <a:cs typeface="Helvetica"/>
              </a:defRPr>
            </a:lvl1pPr>
            <a:lvl2pPr marL="571500" indent="-285750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  <a:defRPr sz="2000" b="0" i="0">
                <a:latin typeface="+mn-lt"/>
                <a:cs typeface="Helvetica"/>
              </a:defRPr>
            </a:lvl2pPr>
            <a:lvl3pPr marL="800100" indent="-171450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7959" y="215263"/>
            <a:ext cx="10363200" cy="68580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7602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uble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720980" y="1901952"/>
            <a:ext cx="5230367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31F4DD03-79D4-834A-B13E-882AC0269CF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43161" y="1901952"/>
            <a:ext cx="5230367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B78A90-16B3-544C-A7AC-D58F4EBAE6D5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1D2184-173D-A542-AD05-41D96DE269FF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black sign with white text&#10;&#10;Description automatically generated">
            <a:extLst>
              <a:ext uri="{FF2B5EF4-FFF2-40B4-BE49-F238E27FC236}">
                <a16:creationId xmlns:a16="http://schemas.microsoft.com/office/drawing/2014/main" id="{42E0F146-3C04-264E-AD2C-ACC5A17664C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16007CB1-868D-254F-988F-BC008F952FE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/>
              <a:t>Double Vertica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38901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© Copyright Red Lion 202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CONFIDENTIAL: Contents of this document are for internal Red Lion Controls use only</a:t>
            </a:r>
          </a:p>
        </p:txBody>
      </p:sp>
    </p:spTree>
    <p:extLst>
      <p:ext uri="{BB962C8B-B14F-4D97-AF65-F5344CB8AC3E}">
        <p14:creationId xmlns:p14="http://schemas.microsoft.com/office/powerpoint/2010/main" val="164529536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419766" y="1450775"/>
            <a:ext cx="5087911" cy="44037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200"/>
              </a:lnSpc>
              <a:spcBef>
                <a:spcPts val="12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lang="en-US" sz="2200" b="1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628650" indent="-3429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Lucida Grande"/>
              <a:buChar char="–"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91440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Calibri" pitchFamily="34" charset="0"/>
              <a:buChar char="-"/>
              <a:defRPr lang="en-US" sz="1800" b="0" i="1" kern="1200" dirty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829633" y="1450775"/>
            <a:ext cx="5077356" cy="44002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200"/>
              </a:lnSpc>
              <a:spcBef>
                <a:spcPts val="12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lang="en-US" sz="2200" b="1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571500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800100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7959" y="215263"/>
            <a:ext cx="10363200" cy="68580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581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650463" y="1462651"/>
            <a:ext cx="5258719" cy="628650"/>
          </a:xfrm>
          <a:prstGeom prst="rect">
            <a:avLst/>
          </a:prstGeom>
          <a:noFill/>
        </p:spPr>
        <p:txBody>
          <a:bodyPr anchor="b"/>
          <a:lstStyle>
            <a:lvl1pPr marL="0" indent="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None/>
              <a:defRPr sz="2200" b="1" i="0" baseline="0">
                <a:solidFill>
                  <a:schemeClr val="tx1"/>
                </a:solidFill>
                <a:latin typeface="+mn-lt"/>
                <a:cs typeface="Helvetic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650181" y="2100825"/>
            <a:ext cx="5272644" cy="3767713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None/>
              <a:defRPr sz="2000" b="0" i="0" baseline="0">
                <a:solidFill>
                  <a:schemeClr val="tx1"/>
                </a:solidFill>
                <a:latin typeface="+mn-lt"/>
                <a:cs typeface="Helvetic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427353" y="1474525"/>
            <a:ext cx="5032824" cy="43800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j-lt"/>
                <a:cs typeface="Helvetica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527959" y="215263"/>
            <a:ext cx="10363200" cy="68580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9446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702966" y="1450775"/>
            <a:ext cx="5156524" cy="44002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200"/>
              </a:lnSpc>
              <a:spcBef>
                <a:spcPts val="12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lang="en-US" sz="2200" b="1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571500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628650" indent="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None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427353" y="1474525"/>
            <a:ext cx="5032824" cy="43800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j-lt"/>
                <a:cs typeface="Helvetica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7959" y="215263"/>
            <a:ext cx="10363200" cy="68580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8868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393372" y="1484419"/>
            <a:ext cx="10418613" cy="41491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j-lt"/>
                <a:cs typeface="Helvetica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357733" y="5676328"/>
            <a:ext cx="7721600" cy="381000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None/>
              <a:defRPr sz="1800" b="0" i="1" baseline="0">
                <a:latin typeface="+mn-lt"/>
                <a:cs typeface="Helvetic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7959" y="215263"/>
            <a:ext cx="10363200" cy="68580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4117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27959" y="215263"/>
            <a:ext cx="10363200" cy="68580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6839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612899" y="215900"/>
            <a:ext cx="10274300" cy="685800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 i="0" baseline="0">
                <a:solidFill>
                  <a:schemeClr val="bg1"/>
                </a:solidFill>
                <a:latin typeface="+mj-lt"/>
                <a:cs typeface="Helvetic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4310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82101" y="0"/>
            <a:ext cx="66634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itle Placeholder 1">
            <a:extLst>
              <a:ext uri="{FF2B5EF4-FFF2-40B4-BE49-F238E27FC236}">
                <a16:creationId xmlns:a16="http://schemas.microsoft.com/office/drawing/2014/main" id="{6F2868B1-4218-D044-840E-A9221A4C3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49928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/>
              <a:t>Click to edit Agenda slide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B5C07-A8B6-B242-88A1-3CA555C2EA2C}"/>
              </a:ext>
            </a:extLst>
          </p:cNvPr>
          <p:cNvSpPr/>
          <p:nvPr userDrawn="1"/>
        </p:nvSpPr>
        <p:spPr>
          <a:xfrm>
            <a:off x="6910832" y="0"/>
            <a:ext cx="457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717003C0-9D7D-A44B-9525-C12DD23B5C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66543" y="1658645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70984" y="2222877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Additional copy if need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7EBEB16-C18F-DA48-BA34-D03C38136E39}"/>
              </a:ext>
            </a:extLst>
          </p:cNvPr>
          <p:cNvSpPr/>
          <p:nvPr userDrawn="1"/>
        </p:nvSpPr>
        <p:spPr>
          <a:xfrm>
            <a:off x="6595364" y="1767753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0BD51C68-E411-0245-865D-860BF6DD652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266543" y="2695968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00CE5835-D23D-4F44-A2BA-D8A99F54FA2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270984" y="3260200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Additional copy if neede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A45C505-1A5A-A045-8CA0-2777EC99A9EB}"/>
              </a:ext>
            </a:extLst>
          </p:cNvPr>
          <p:cNvSpPr/>
          <p:nvPr userDrawn="1"/>
        </p:nvSpPr>
        <p:spPr>
          <a:xfrm>
            <a:off x="6595364" y="2805076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4355E69D-1413-3A4E-9ED4-6790BF115B3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6543" y="3692987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C3AD7C86-8E21-8645-A102-E324AC9E531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70984" y="4257220"/>
            <a:ext cx="4247519" cy="39490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/>
              <a:t>Additional copy if needed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31B492C-B64F-7346-959F-066977BBC936}"/>
              </a:ext>
            </a:extLst>
          </p:cNvPr>
          <p:cNvSpPr/>
          <p:nvPr userDrawn="1"/>
        </p:nvSpPr>
        <p:spPr>
          <a:xfrm>
            <a:off x="6583172" y="3802095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E76C5C0B-9260-094A-8035-A20577779DF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266543" y="4730310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4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A51B293C-3734-BB41-9AD7-1E23646B031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270984" y="5294543"/>
            <a:ext cx="4247519" cy="35035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Additional copy if needed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DABA603-C7B6-F642-90C8-44831A7CB202}"/>
              </a:ext>
            </a:extLst>
          </p:cNvPr>
          <p:cNvSpPr/>
          <p:nvPr userDrawn="1"/>
        </p:nvSpPr>
        <p:spPr>
          <a:xfrm>
            <a:off x="6583172" y="4839418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DC7C6-A461-7746-99F6-978717E7C7F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8FA89B-FBE0-1B47-81A1-8511BAC2543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63C663E-328B-7D4C-BCE1-3ABC10088A3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1189" y="1897821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27186FE-EA50-374D-87FB-239C939DD1B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41189" y="2957994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B4D1A69-385C-2C4C-B763-A3D00D2E637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641189" y="3951907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EC239C5-3331-8042-BA90-62F1C0AD1B0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41189" y="4985577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1" name="Slide Number Placeholder 6">
            <a:extLst>
              <a:ext uri="{FF2B5EF4-FFF2-40B4-BE49-F238E27FC236}">
                <a16:creationId xmlns:a16="http://schemas.microsoft.com/office/drawing/2014/main" id="{E68911A7-4B95-C842-893F-650F0E3578C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4" name="Picture 53" descr="A black sign with white text&#10;&#10;Description automatically generated">
            <a:extLst>
              <a:ext uri="{FF2B5EF4-FFF2-40B4-BE49-F238E27FC236}">
                <a16:creationId xmlns:a16="http://schemas.microsoft.com/office/drawing/2014/main" id="{6333A16E-2FEB-444D-80C3-AEB5896C7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847" y="6111799"/>
            <a:ext cx="859403" cy="5904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1917785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82101" y="0"/>
            <a:ext cx="66634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itle Placeholder 1">
            <a:extLst>
              <a:ext uri="{FF2B5EF4-FFF2-40B4-BE49-F238E27FC236}">
                <a16:creationId xmlns:a16="http://schemas.microsoft.com/office/drawing/2014/main" id="{6F2868B1-4218-D044-840E-A9221A4C3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49928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/>
              <a:t>Click to edit Agenda slide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B5C07-A8B6-B242-88A1-3CA555C2EA2C}"/>
              </a:ext>
            </a:extLst>
          </p:cNvPr>
          <p:cNvSpPr/>
          <p:nvPr userDrawn="1"/>
        </p:nvSpPr>
        <p:spPr>
          <a:xfrm>
            <a:off x="6910832" y="0"/>
            <a:ext cx="457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717003C0-9D7D-A44B-9525-C12DD23B5C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66543" y="1658645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70984" y="2222877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Additional copy if need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7EBEB16-C18F-DA48-BA34-D03C38136E39}"/>
              </a:ext>
            </a:extLst>
          </p:cNvPr>
          <p:cNvSpPr/>
          <p:nvPr userDrawn="1"/>
        </p:nvSpPr>
        <p:spPr>
          <a:xfrm>
            <a:off x="6595364" y="1767753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0BD51C68-E411-0245-865D-860BF6DD652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266543" y="2695968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00CE5835-D23D-4F44-A2BA-D8A99F54FA2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270984" y="3260200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Additional copy if neede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A45C505-1A5A-A045-8CA0-2777EC99A9EB}"/>
              </a:ext>
            </a:extLst>
          </p:cNvPr>
          <p:cNvSpPr/>
          <p:nvPr userDrawn="1"/>
        </p:nvSpPr>
        <p:spPr>
          <a:xfrm>
            <a:off x="6595364" y="2805076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4355E69D-1413-3A4E-9ED4-6790BF115B3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6543" y="3692987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3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C3AD7C86-8E21-8645-A102-E324AC9E531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70984" y="4257220"/>
            <a:ext cx="4247519" cy="39490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/>
              <a:t>Additional copy if needed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31B492C-B64F-7346-959F-066977BBC936}"/>
              </a:ext>
            </a:extLst>
          </p:cNvPr>
          <p:cNvSpPr/>
          <p:nvPr userDrawn="1"/>
        </p:nvSpPr>
        <p:spPr>
          <a:xfrm>
            <a:off x="6583172" y="3802095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DC7C6-A461-7746-99F6-978717E7C7F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8FA89B-FBE0-1B47-81A1-8511BAC2543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63C663E-328B-7D4C-BCE1-3ABC10088A3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1189" y="1897821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27186FE-EA50-374D-87FB-239C939DD1B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41189" y="2957994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B4D1A69-385C-2C4C-B763-A3D00D2E637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641189" y="3951907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1" name="Slide Number Placeholder 6">
            <a:extLst>
              <a:ext uri="{FF2B5EF4-FFF2-40B4-BE49-F238E27FC236}">
                <a16:creationId xmlns:a16="http://schemas.microsoft.com/office/drawing/2014/main" id="{E68911A7-4B95-C842-893F-650F0E3578C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4" name="Picture 53" descr="A black sign with white text&#10;&#10;Description automatically generated">
            <a:extLst>
              <a:ext uri="{FF2B5EF4-FFF2-40B4-BE49-F238E27FC236}">
                <a16:creationId xmlns:a16="http://schemas.microsoft.com/office/drawing/2014/main" id="{6333A16E-2FEB-444D-80C3-AEB5896C7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847" y="6111799"/>
            <a:ext cx="859403" cy="5904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3026128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82101" y="0"/>
            <a:ext cx="66634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itle Placeholder 1">
            <a:extLst>
              <a:ext uri="{FF2B5EF4-FFF2-40B4-BE49-F238E27FC236}">
                <a16:creationId xmlns:a16="http://schemas.microsoft.com/office/drawing/2014/main" id="{6F2868B1-4218-D044-840E-A9221A4C3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49928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/>
              <a:t>Click to edit Agenda slide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B5C07-A8B6-B242-88A1-3CA555C2EA2C}"/>
              </a:ext>
            </a:extLst>
          </p:cNvPr>
          <p:cNvSpPr/>
          <p:nvPr userDrawn="1"/>
        </p:nvSpPr>
        <p:spPr>
          <a:xfrm>
            <a:off x="6910832" y="0"/>
            <a:ext cx="457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717003C0-9D7D-A44B-9525-C12DD23B5C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66543" y="1658645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70984" y="2222877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Additional copy if need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7EBEB16-C18F-DA48-BA34-D03C38136E39}"/>
              </a:ext>
            </a:extLst>
          </p:cNvPr>
          <p:cNvSpPr/>
          <p:nvPr userDrawn="1"/>
        </p:nvSpPr>
        <p:spPr>
          <a:xfrm>
            <a:off x="6595364" y="1767753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0BD51C68-E411-0245-865D-860BF6DD652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266543" y="2695968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2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00CE5835-D23D-4F44-A2BA-D8A99F54FA2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270984" y="3260200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Additional copy if neede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A45C505-1A5A-A045-8CA0-2777EC99A9EB}"/>
              </a:ext>
            </a:extLst>
          </p:cNvPr>
          <p:cNvSpPr/>
          <p:nvPr userDrawn="1"/>
        </p:nvSpPr>
        <p:spPr>
          <a:xfrm>
            <a:off x="6595364" y="2805076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DC7C6-A461-7746-99F6-978717E7C7F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8FA89B-FBE0-1B47-81A1-8511BAC2543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63C663E-328B-7D4C-BCE1-3ABC10088A3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1189" y="1897821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27186FE-EA50-374D-87FB-239C939DD1B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41189" y="2957994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1" name="Slide Number Placeholder 6">
            <a:extLst>
              <a:ext uri="{FF2B5EF4-FFF2-40B4-BE49-F238E27FC236}">
                <a16:creationId xmlns:a16="http://schemas.microsoft.com/office/drawing/2014/main" id="{E68911A7-4B95-C842-893F-650F0E3578C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4" name="Picture 53" descr="A black sign with white text&#10;&#10;Description automatically generated">
            <a:extLst>
              <a:ext uri="{FF2B5EF4-FFF2-40B4-BE49-F238E27FC236}">
                <a16:creationId xmlns:a16="http://schemas.microsoft.com/office/drawing/2014/main" id="{6333A16E-2FEB-444D-80C3-AEB5896C7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847" y="6111799"/>
            <a:ext cx="859403" cy="5904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3597241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82101" y="0"/>
            <a:ext cx="66634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itle Placeholder 1">
            <a:extLst>
              <a:ext uri="{FF2B5EF4-FFF2-40B4-BE49-F238E27FC236}">
                <a16:creationId xmlns:a16="http://schemas.microsoft.com/office/drawing/2014/main" id="{6F2868B1-4218-D044-840E-A9221A4C3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49928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/>
              <a:t>Click to edit Agenda slide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B5C07-A8B6-B242-88A1-3CA555C2EA2C}"/>
              </a:ext>
            </a:extLst>
          </p:cNvPr>
          <p:cNvSpPr/>
          <p:nvPr userDrawn="1"/>
        </p:nvSpPr>
        <p:spPr>
          <a:xfrm>
            <a:off x="6910832" y="0"/>
            <a:ext cx="457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717003C0-9D7D-A44B-9525-C12DD23B5C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66543" y="1658645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/>
              <a:t>Topic 1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70984" y="2222877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Additional copy if need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7EBEB16-C18F-DA48-BA34-D03C38136E39}"/>
              </a:ext>
            </a:extLst>
          </p:cNvPr>
          <p:cNvSpPr/>
          <p:nvPr userDrawn="1"/>
        </p:nvSpPr>
        <p:spPr>
          <a:xfrm>
            <a:off x="6595364" y="1767753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DC7C6-A461-7746-99F6-978717E7C7F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8FA89B-FBE0-1B47-81A1-8511BAC2543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63C663E-328B-7D4C-BCE1-3ABC10088A3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1189" y="1897821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1" name="Slide Number Placeholder 6">
            <a:extLst>
              <a:ext uri="{FF2B5EF4-FFF2-40B4-BE49-F238E27FC236}">
                <a16:creationId xmlns:a16="http://schemas.microsoft.com/office/drawing/2014/main" id="{E68911A7-4B95-C842-893F-650F0E3578C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4" name="Picture 53" descr="A black sign with white text&#10;&#10;Description automatically generated">
            <a:extLst>
              <a:ext uri="{FF2B5EF4-FFF2-40B4-BE49-F238E27FC236}">
                <a16:creationId xmlns:a16="http://schemas.microsoft.com/office/drawing/2014/main" id="{6333A16E-2FEB-444D-80C3-AEB5896C7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847" y="6111799"/>
            <a:ext cx="859403" cy="5904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2110551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tags" Target="../tags/tag23.xm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vmlDrawing" Target="../drawings/vmlDrawing12.vml"/><Relationship Id="rId2" Type="http://schemas.openxmlformats.org/officeDocument/2006/relationships/slideLayout" Target="../slideLayouts/slideLayout12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12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19" Type="http://schemas.openxmlformats.org/officeDocument/2006/relationships/tags" Target="../tags/tag24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vmlDrawing" Target="../drawings/vmlDrawing27.vml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3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oleObject" Target="../embeddings/oleObject27.bin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vmlDrawing" Target="../drawings/vmlDrawing28.vml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13.emf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oleObject" Target="../embeddings/oleObject28.bin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oleObject" Target="../embeddings/oleObject29.bin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52.xml"/><Relationship Id="rId10" Type="http://schemas.openxmlformats.org/officeDocument/2006/relationships/vmlDrawing" Target="../drawings/vmlDrawing29.v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6.xml"/><Relationship Id="rId14" Type="http://schemas.openxmlformats.org/officeDocument/2006/relationships/image" Target="../media/image1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81" imgH="381" progId="TCLayout.ActiveDocument.1">
                  <p:embed/>
                </p:oleObj>
              </mc:Choice>
              <mc:Fallback>
                <p:oleObj name="think-cell Slide" r:id="rId10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84020" y="3046755"/>
            <a:ext cx="882396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over Art &amp; Section Dividers</a:t>
            </a:r>
          </a:p>
        </p:txBody>
      </p:sp>
      <p:sp>
        <p:nvSpPr>
          <p:cNvPr id="3" name="MSIPCMContentMarking" descr="{&quot;HashCode&quot;:900094946,&quot;Placement&quot;:&quot;Footer&quot;,&quot;Top&quot;:519.343,&quot;Left&quot;:411.339752,&quot;SlideWidth&quot;:960,&quot;SlideHeight&quot;:540}">
            <a:extLst>
              <a:ext uri="{FF2B5EF4-FFF2-40B4-BE49-F238E27FC236}">
                <a16:creationId xmlns:a16="http://schemas.microsoft.com/office/drawing/2014/main" id="{75ECB514-E495-4727-B152-EDB32650B246}"/>
              </a:ext>
            </a:extLst>
          </p:cNvPr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3129597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98" r:id="rId2"/>
    <p:sldLayoutId id="2147483674" r:id="rId3"/>
    <p:sldLayoutId id="2147483752" r:id="rId4"/>
    <p:sldLayoutId id="2147483754" r:id="rId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10" imgW="381" imgH="381" progId="TCLayout.ActiveDocument.1">
                  <p:embed/>
                </p:oleObj>
              </mc:Choice>
              <mc:Fallback>
                <p:oleObj name="think-cell Slide" r:id="rId10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54347" y="2852928"/>
            <a:ext cx="882396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Agenda Slide Options</a:t>
            </a:r>
          </a:p>
        </p:txBody>
      </p:sp>
      <p:sp>
        <p:nvSpPr>
          <p:cNvPr id="3" name="MSIPCMContentMarking" descr="{&quot;HashCode&quot;:900094946,&quot;Placement&quot;:&quot;Footer&quot;,&quot;Top&quot;:519.343,&quot;Left&quot;:411.339752,&quot;SlideWidth&quot;:960,&quot;SlideHeight&quot;:540}">
            <a:extLst>
              <a:ext uri="{FF2B5EF4-FFF2-40B4-BE49-F238E27FC236}">
                <a16:creationId xmlns:a16="http://schemas.microsoft.com/office/drawing/2014/main" id="{05841BAB-2F8E-4543-94A6-EFE8D5916393}"/>
              </a:ext>
            </a:extLst>
          </p:cNvPr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3824662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47" r:id="rId2"/>
    <p:sldLayoutId id="2147483748" r:id="rId3"/>
    <p:sldLayoutId id="2147483749" r:id="rId4"/>
    <p:sldLayoutId id="2147483722" r:id="rId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20" imgW="381" imgH="381" progId="TCLayout.ActiveDocument.1">
                  <p:embed/>
                </p:oleObj>
              </mc:Choice>
              <mc:Fallback>
                <p:oleObj name="think-cell Slide" r:id="rId20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9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84020" y="3140964"/>
            <a:ext cx="882396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ontent Pages</a:t>
            </a:r>
          </a:p>
        </p:txBody>
      </p:sp>
      <p:sp>
        <p:nvSpPr>
          <p:cNvPr id="3" name="MSIPCMContentMarking" descr="{&quot;HashCode&quot;:900094946,&quot;Placement&quot;:&quot;Footer&quot;,&quot;Top&quot;:519.343,&quot;Left&quot;:411.339752,&quot;SlideWidth&quot;:960,&quot;SlideHeight&quot;:540}">
            <a:extLst>
              <a:ext uri="{FF2B5EF4-FFF2-40B4-BE49-F238E27FC236}">
                <a16:creationId xmlns:a16="http://schemas.microsoft.com/office/drawing/2014/main" id="{E6BB455D-1662-4E32-BB15-488FC81FFA85}"/>
              </a:ext>
            </a:extLst>
          </p:cNvPr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1996073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725" r:id="rId3"/>
    <p:sldLayoutId id="2147483694" r:id="rId4"/>
    <p:sldLayoutId id="2147483707" r:id="rId5"/>
    <p:sldLayoutId id="2147483689" r:id="rId6"/>
    <p:sldLayoutId id="2147483696" r:id="rId7"/>
    <p:sldLayoutId id="2147483693" r:id="rId8"/>
    <p:sldLayoutId id="2147483711" r:id="rId9"/>
    <p:sldLayoutId id="2147483709" r:id="rId10"/>
    <p:sldLayoutId id="2147483710" r:id="rId11"/>
    <p:sldLayoutId id="2147483736" r:id="rId12"/>
    <p:sldLayoutId id="2147483751" r:id="rId13"/>
    <p:sldLayoutId id="2147483738" r:id="rId14"/>
    <p:sldLayoutId id="2147483735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580B86-4E17-49AC-9C88-363A0F4DB8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11720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15" imgW="308" imgH="305" progId="TCLayout.ActiveDocument.1">
                  <p:embed/>
                </p:oleObj>
              </mc:Choice>
              <mc:Fallback>
                <p:oleObj name="think-cell Slide" r:id="rId15" imgW="308" imgH="30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580B86-4E17-49AC-9C88-363A0F4DB8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02" name="Picture 7" descr="Powerpoint.SubUpdate_V1.png">
            <a:extLst>
              <a:ext uri="{FF2B5EF4-FFF2-40B4-BE49-F238E27FC236}">
                <a16:creationId xmlns:a16="http://schemas.microsoft.com/office/drawing/2014/main" id="{7B804F28-4EB5-43CB-AFD3-6311C2F4CBB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36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3" name="Picture 8" descr="bottom line.png">
            <a:extLst>
              <a:ext uri="{FF2B5EF4-FFF2-40B4-BE49-F238E27FC236}">
                <a16:creationId xmlns:a16="http://schemas.microsoft.com/office/drawing/2014/main" id="{7D76BF32-5822-4411-944A-7AE112572F3C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0651"/>
            <a:ext cx="12192000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4" name="Rectangle 2">
            <a:extLst>
              <a:ext uri="{FF2B5EF4-FFF2-40B4-BE49-F238E27FC236}">
                <a16:creationId xmlns:a16="http://schemas.microsoft.com/office/drawing/2014/main" id="{55A02FE2-5577-4A59-8D34-E04AE9CB922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0"/>
            <a:ext cx="9347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05" name="Rectangle 5">
            <a:extLst>
              <a:ext uri="{FF2B5EF4-FFF2-40B4-BE49-F238E27FC236}">
                <a16:creationId xmlns:a16="http://schemas.microsoft.com/office/drawing/2014/main" id="{EBCD9012-E2F4-4938-855A-E222B531835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524000"/>
            <a:ext cx="11684000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2"/>
            <a:endParaRPr lang="en-US" altLang="en-US"/>
          </a:p>
        </p:txBody>
      </p:sp>
      <p:sp>
        <p:nvSpPr>
          <p:cNvPr id="51206" name="Rectangle 6">
            <a:extLst>
              <a:ext uri="{FF2B5EF4-FFF2-40B4-BE49-F238E27FC236}">
                <a16:creationId xmlns:a16="http://schemas.microsoft.com/office/drawing/2014/main" id="{38CEED37-5BFA-484D-B422-4C37F321FEAB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61600" y="6505575"/>
            <a:ext cx="1828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chemeClr val="bg2"/>
                </a:solidFill>
              </a:defRPr>
            </a:lvl1pPr>
          </a:lstStyle>
          <a:p>
            <a:fld id="{98C390CD-49C8-45E0-A3EC-A4AADC96F3D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1207" name="Text Box 7">
            <a:extLst>
              <a:ext uri="{FF2B5EF4-FFF2-40B4-BE49-F238E27FC236}">
                <a16:creationId xmlns:a16="http://schemas.microsoft.com/office/drawing/2014/main" id="{C9199D6A-2C73-4793-81E2-7D4FCB90CE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75851" y="6559551"/>
            <a:ext cx="12192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800">
                <a:solidFill>
                  <a:schemeClr val="bg2"/>
                </a:solidFill>
              </a:rPr>
              <a:t>PROPRIETARY</a:t>
            </a:r>
          </a:p>
        </p:txBody>
      </p:sp>
      <p:sp>
        <p:nvSpPr>
          <p:cNvPr id="4" name="MSIPCMContentMarking" descr="{&quot;HashCode&quot;:900094946,&quot;Placement&quot;:&quot;Footer&quot;,&quot;Top&quot;:519.343,&quot;Left&quot;:411.339752,&quot;SlideWidth&quot;:960,&quot;SlideHeight&quot;:540}">
            <a:extLst>
              <a:ext uri="{FF2B5EF4-FFF2-40B4-BE49-F238E27FC236}">
                <a16:creationId xmlns:a16="http://schemas.microsoft.com/office/drawing/2014/main" id="{32DE699F-13C0-4521-8AEC-C0241FC6BB71}"/>
              </a:ext>
            </a:extLst>
          </p:cNvPr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664966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9pPr>
    </p:titleStyle>
    <p:bodyStyle>
      <a:lvl1pPr marL="171450" indent="-171450" algn="l" rtl="0" fontAlgn="base">
        <a:spcBef>
          <a:spcPct val="50000"/>
        </a:spcBef>
        <a:spcAft>
          <a:spcPct val="0"/>
        </a:spcAft>
        <a:buClr>
          <a:schemeClr val="accent1"/>
        </a:buClr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68325" indent="-231775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4075" indent="-171450" algn="l" rtl="0" fontAlgn="base">
        <a:spcBef>
          <a:spcPct val="20000"/>
        </a:spcBef>
        <a:spcAft>
          <a:spcPct val="0"/>
        </a:spcAft>
        <a:buSzPct val="95000"/>
        <a:buFont typeface="Arial" panose="020B0604020202020204" pitchFamily="34" charset="0"/>
        <a:buChar char="−"/>
        <a:defRPr sz="1700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1484313" indent="-228600" algn="l" rtl="0" fontAlgn="base">
        <a:spcBef>
          <a:spcPct val="20000"/>
        </a:spcBef>
        <a:spcAft>
          <a:spcPct val="0"/>
        </a:spcAft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13" indent="-228600" algn="l" rtl="0" fontAlgn="base">
        <a:spcBef>
          <a:spcPct val="20000"/>
        </a:spcBef>
        <a:spcAft>
          <a:spcPct val="0"/>
        </a:spcAft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1613FF-EBAE-4C9E-8435-3F7642E32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88131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15" imgW="308" imgH="305" progId="TCLayout.ActiveDocument.1">
                  <p:embed/>
                </p:oleObj>
              </mc:Choice>
              <mc:Fallback>
                <p:oleObj name="think-cell Slide" r:id="rId15" imgW="308" imgH="30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1613FF-EBAE-4C9E-8435-3F7642E32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02" name="Picture 7" descr="Powerpoint.SubUpdate_V1.png">
            <a:extLst>
              <a:ext uri="{FF2B5EF4-FFF2-40B4-BE49-F238E27FC236}">
                <a16:creationId xmlns:a16="http://schemas.microsoft.com/office/drawing/2014/main" id="{ABEC7DFB-AC7C-4B8B-8002-DD63059932D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36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3" name="Picture 8" descr="bottom line.png">
            <a:extLst>
              <a:ext uri="{FF2B5EF4-FFF2-40B4-BE49-F238E27FC236}">
                <a16:creationId xmlns:a16="http://schemas.microsoft.com/office/drawing/2014/main" id="{B13559A9-6EC2-4CFC-ABEA-BA398EAB50F6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0651"/>
            <a:ext cx="12192000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4" name="Rectangle 2">
            <a:extLst>
              <a:ext uri="{FF2B5EF4-FFF2-40B4-BE49-F238E27FC236}">
                <a16:creationId xmlns:a16="http://schemas.microsoft.com/office/drawing/2014/main" id="{EBE151EC-A0F9-4D70-AE11-18819893648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0"/>
            <a:ext cx="9347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05" name="Rectangle 5">
            <a:extLst>
              <a:ext uri="{FF2B5EF4-FFF2-40B4-BE49-F238E27FC236}">
                <a16:creationId xmlns:a16="http://schemas.microsoft.com/office/drawing/2014/main" id="{566B41CA-3849-4B61-8F30-0EB25E66798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524000"/>
            <a:ext cx="11684000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2"/>
            <a:endParaRPr lang="en-US" altLang="en-US"/>
          </a:p>
        </p:txBody>
      </p:sp>
      <p:sp>
        <p:nvSpPr>
          <p:cNvPr id="51206" name="Rectangle 6">
            <a:extLst>
              <a:ext uri="{FF2B5EF4-FFF2-40B4-BE49-F238E27FC236}">
                <a16:creationId xmlns:a16="http://schemas.microsoft.com/office/drawing/2014/main" id="{7FF8F536-D184-45E9-A765-B20AFD3B2B3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61600" y="6505575"/>
            <a:ext cx="1828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chemeClr val="bg2"/>
                </a:solidFill>
              </a:defRPr>
            </a:lvl1pPr>
          </a:lstStyle>
          <a:p>
            <a:fld id="{CB2EA1CF-DE9E-4D4D-B973-D3E12CDF2678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1207" name="Text Box 7">
            <a:extLst>
              <a:ext uri="{FF2B5EF4-FFF2-40B4-BE49-F238E27FC236}">
                <a16:creationId xmlns:a16="http://schemas.microsoft.com/office/drawing/2014/main" id="{B1A819C1-6F00-4888-A405-A218F6E8E5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75851" y="6559551"/>
            <a:ext cx="12192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800">
                <a:solidFill>
                  <a:schemeClr val="bg2"/>
                </a:solidFill>
              </a:rPr>
              <a:t>PROPRIETARY</a:t>
            </a:r>
          </a:p>
        </p:txBody>
      </p:sp>
      <p:sp>
        <p:nvSpPr>
          <p:cNvPr id="4" name="MSIPCMContentMarking" descr="{&quot;HashCode&quot;:900094946,&quot;Placement&quot;:&quot;Footer&quot;,&quot;Top&quot;:519.343,&quot;Left&quot;:411.339752,&quot;SlideWidth&quot;:960,&quot;SlideHeight&quot;:540}">
            <a:extLst>
              <a:ext uri="{FF2B5EF4-FFF2-40B4-BE49-F238E27FC236}">
                <a16:creationId xmlns:a16="http://schemas.microsoft.com/office/drawing/2014/main" id="{E230A483-E51C-4D69-AA3B-BB613F5B8D02}"/>
              </a:ext>
            </a:extLst>
          </p:cNvPr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1344034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anose="020B0604020202020204" pitchFamily="34" charset="0"/>
          <a:ea typeface="MS PGothic" panose="020B0600070205080204" pitchFamily="34" charset="-128"/>
        </a:defRPr>
      </a:lvl9pPr>
    </p:titleStyle>
    <p:bodyStyle>
      <a:lvl1pPr marL="171450" indent="-171450" algn="l" rtl="0" fontAlgn="base">
        <a:spcBef>
          <a:spcPct val="50000"/>
        </a:spcBef>
        <a:spcAft>
          <a:spcPct val="0"/>
        </a:spcAft>
        <a:buClr>
          <a:schemeClr val="accent1"/>
        </a:buClr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68325" indent="-231775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4075" indent="-171450" algn="l" rtl="0" fontAlgn="base">
        <a:spcBef>
          <a:spcPct val="20000"/>
        </a:spcBef>
        <a:spcAft>
          <a:spcPct val="0"/>
        </a:spcAft>
        <a:buSzPct val="95000"/>
        <a:buFont typeface="Arial" panose="020B0604020202020204" pitchFamily="34" charset="0"/>
        <a:buChar char="−"/>
        <a:defRPr sz="1700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1484313" indent="-228600" algn="l" rtl="0" fontAlgn="base">
        <a:spcBef>
          <a:spcPct val="20000"/>
        </a:spcBef>
        <a:spcAft>
          <a:spcPct val="0"/>
        </a:spcAft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13" indent="-228600" algn="l" rtl="0" fontAlgn="base">
        <a:spcBef>
          <a:spcPct val="20000"/>
        </a:spcBef>
        <a:spcAft>
          <a:spcPct val="0"/>
        </a:spcAft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94768C-F67D-4904-8CFF-11EC1DC873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1143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12" imgW="308" imgH="305" progId="TCLayout.ActiveDocument.1">
                  <p:embed/>
                </p:oleObj>
              </mc:Choice>
              <mc:Fallback>
                <p:oleObj name="think-cell Slide" r:id="rId12" imgW="308" imgH="30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94768C-F67D-4904-8CFF-11EC1DC87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14" descr="http://sellmore.redlion.net/dist/logo_files/CoporateLogoSet/MSOffice%20for%20Microsoft%20Office%20use/RedLion-logo_MSO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418" y="6069013"/>
            <a:ext cx="2279649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Box 11"/>
          <p:cNvSpPr txBox="1">
            <a:spLocks noChangeArrowheads="1"/>
          </p:cNvSpPr>
          <p:nvPr/>
        </p:nvSpPr>
        <p:spPr bwMode="auto">
          <a:xfrm>
            <a:off x="11745384" y="6602413"/>
            <a:ext cx="33534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4E2E374-E4D7-4EC2-BA21-D87F882EE047}" type="slidenum">
              <a:rPr lang="en-US" altLang="en-US" sz="1000" smtClean="0">
                <a:solidFill>
                  <a:srgbClr val="BFBFBF"/>
                </a:solidFill>
                <a:latin typeface="Calibri" pitchFamily="34" charset="0"/>
                <a:cs typeface="Helvetica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sz="1000">
              <a:solidFill>
                <a:srgbClr val="BFBFBF"/>
              </a:solidFill>
              <a:latin typeface="Calibri" pitchFamily="34" charset="0"/>
              <a:cs typeface="Helvetica" pitchFamily="34" charset="0"/>
            </a:endParaRPr>
          </a:p>
        </p:txBody>
      </p:sp>
      <p:sp>
        <p:nvSpPr>
          <p:cNvPr id="2052" name="Rectangle 13"/>
          <p:cNvSpPr>
            <a:spLocks noChangeArrowheads="1"/>
          </p:cNvSpPr>
          <p:nvPr/>
        </p:nvSpPr>
        <p:spPr bwMode="auto">
          <a:xfrm>
            <a:off x="-42333" y="6611938"/>
            <a:ext cx="144943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>
                <a:solidFill>
                  <a:srgbClr val="BFBFBF"/>
                </a:solidFill>
                <a:latin typeface="Calibri" pitchFamily="34" charset="0"/>
                <a:cs typeface="Helvetica" pitchFamily="34" charset="0"/>
              </a:rPr>
              <a:t>© Red Lion Controls Inc.</a:t>
            </a:r>
          </a:p>
        </p:txBody>
      </p:sp>
      <p:grpSp>
        <p:nvGrpSpPr>
          <p:cNvPr id="2053" name="Group 15"/>
          <p:cNvGrpSpPr>
            <a:grpSpLocks/>
          </p:cNvGrpSpPr>
          <p:nvPr/>
        </p:nvGrpSpPr>
        <p:grpSpPr bwMode="auto">
          <a:xfrm>
            <a:off x="-14817" y="-4763"/>
            <a:ext cx="12206817" cy="3727451"/>
            <a:chOff x="-11875" y="-4233"/>
            <a:chExt cx="9155876" cy="3726156"/>
          </a:xfrm>
        </p:grpSpPr>
        <p:sp>
          <p:nvSpPr>
            <p:cNvPr id="22" name="Freeform 21"/>
            <p:cNvSpPr/>
            <p:nvPr/>
          </p:nvSpPr>
          <p:spPr>
            <a:xfrm>
              <a:off x="-11875" y="1181218"/>
              <a:ext cx="993859" cy="1142603"/>
            </a:xfrm>
            <a:custGeom>
              <a:avLst/>
              <a:gdLst>
                <a:gd name="connsiteX0" fmla="*/ 4233 w 986366"/>
                <a:gd name="connsiteY0" fmla="*/ 1138767 h 1143000"/>
                <a:gd name="connsiteX1" fmla="*/ 546100 w 986366"/>
                <a:gd name="connsiteY1" fmla="*/ 1143000 h 1143000"/>
                <a:gd name="connsiteX2" fmla="*/ 986366 w 986366"/>
                <a:gd name="connsiteY2" fmla="*/ 0 h 1143000"/>
                <a:gd name="connsiteX3" fmla="*/ 0 w 986366"/>
                <a:gd name="connsiteY3" fmla="*/ 0 h 1143000"/>
                <a:gd name="connsiteX4" fmla="*/ 4233 w 986366"/>
                <a:gd name="connsiteY4" fmla="*/ 1138767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6366" h="1143000">
                  <a:moveTo>
                    <a:pt x="4233" y="1138767"/>
                  </a:moveTo>
                  <a:lnTo>
                    <a:pt x="546100" y="1143000"/>
                  </a:lnTo>
                  <a:lnTo>
                    <a:pt x="986366" y="0"/>
                  </a:lnTo>
                  <a:lnTo>
                    <a:pt x="0" y="0"/>
                  </a:lnTo>
                  <a:lnTo>
                    <a:pt x="4233" y="113876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prstClr val="white"/>
                </a:solidFill>
                <a:latin typeface="Helvetica"/>
                <a:cs typeface="Helvetica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-761" y="528"/>
              <a:ext cx="9144762" cy="1142603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prstClr val="white"/>
                </a:solidFill>
                <a:latin typeface="Helvetica"/>
                <a:cs typeface="Helvetica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 rot="10800000">
              <a:off x="-761" y="1151066"/>
              <a:ext cx="9144762" cy="1586"/>
            </a:xfrm>
            <a:prstGeom prst="line">
              <a:avLst/>
            </a:prstGeom>
            <a:ln w="31750" cap="flat" cmpd="sng" algn="ctr">
              <a:solidFill>
                <a:srgbClr val="E1053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ight Triangle 12"/>
            <p:cNvSpPr/>
            <p:nvPr/>
          </p:nvSpPr>
          <p:spPr>
            <a:xfrm flipV="1">
              <a:off x="-761" y="2323821"/>
              <a:ext cx="542970" cy="1398102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prstClr val="white"/>
                </a:solidFill>
                <a:latin typeface="Helvetica"/>
                <a:cs typeface="Helvetica"/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-11875" y="-4233"/>
              <a:ext cx="1443158" cy="1147364"/>
            </a:xfrm>
            <a:custGeom>
              <a:avLst/>
              <a:gdLst>
                <a:gd name="connsiteX0" fmla="*/ 0 w 1443567"/>
                <a:gd name="connsiteY0" fmla="*/ 1143000 h 1147233"/>
                <a:gd name="connsiteX1" fmla="*/ 1003300 w 1443567"/>
                <a:gd name="connsiteY1" fmla="*/ 1147233 h 1147233"/>
                <a:gd name="connsiteX2" fmla="*/ 1443567 w 1443567"/>
                <a:gd name="connsiteY2" fmla="*/ 4233 h 1147233"/>
                <a:gd name="connsiteX3" fmla="*/ 4233 w 1443567"/>
                <a:gd name="connsiteY3" fmla="*/ 0 h 1147233"/>
                <a:gd name="connsiteX4" fmla="*/ 0 w 1443567"/>
                <a:gd name="connsiteY4" fmla="*/ 1143000 h 114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3567" h="1147233">
                  <a:moveTo>
                    <a:pt x="0" y="1143000"/>
                  </a:moveTo>
                  <a:lnTo>
                    <a:pt x="1003300" y="1147233"/>
                  </a:lnTo>
                  <a:lnTo>
                    <a:pt x="1443567" y="4233"/>
                  </a:lnTo>
                  <a:lnTo>
                    <a:pt x="4233" y="0"/>
                  </a:lnTo>
                  <a:lnTo>
                    <a:pt x="0" y="114300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400" dirty="0">
                  <a:solidFill>
                    <a:prstClr val="white"/>
                  </a:solidFill>
                  <a:latin typeface="Helvetica"/>
                  <a:cs typeface="Helvetica"/>
                </a:rPr>
                <a:t> </a:t>
              </a:r>
            </a:p>
          </p:txBody>
        </p:sp>
        <p:sp>
          <p:nvSpPr>
            <p:cNvPr id="28" name="Freeform 27"/>
            <p:cNvSpPr/>
            <p:nvPr/>
          </p:nvSpPr>
          <p:spPr>
            <a:xfrm>
              <a:off x="-10287" y="1136783"/>
              <a:ext cx="1009734" cy="111086"/>
            </a:xfrm>
            <a:custGeom>
              <a:avLst/>
              <a:gdLst>
                <a:gd name="connsiteX0" fmla="*/ 0 w 1009650"/>
                <a:gd name="connsiteY0" fmla="*/ 0 h 111125"/>
                <a:gd name="connsiteX1" fmla="*/ 1009650 w 1009650"/>
                <a:gd name="connsiteY1" fmla="*/ 3175 h 111125"/>
                <a:gd name="connsiteX2" fmla="*/ 968375 w 1009650"/>
                <a:gd name="connsiteY2" fmla="*/ 111125 h 111125"/>
                <a:gd name="connsiteX3" fmla="*/ 3175 w 1009650"/>
                <a:gd name="connsiteY3" fmla="*/ 107950 h 111125"/>
                <a:gd name="connsiteX4" fmla="*/ 0 w 1009650"/>
                <a:gd name="connsiteY4" fmla="*/ 0 h 11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650" h="111125">
                  <a:moveTo>
                    <a:pt x="0" y="0"/>
                  </a:moveTo>
                  <a:lnTo>
                    <a:pt x="1009650" y="3175"/>
                  </a:lnTo>
                  <a:lnTo>
                    <a:pt x="968375" y="111125"/>
                  </a:lnTo>
                  <a:lnTo>
                    <a:pt x="3175" y="107950"/>
                  </a:lnTo>
                  <a:cubicBezTo>
                    <a:pt x="2117" y="71967"/>
                    <a:pt x="1058" y="35983"/>
                    <a:pt x="0" y="0"/>
                  </a:cubicBezTo>
                  <a:close/>
                </a:path>
              </a:pathLst>
            </a:custGeom>
            <a:solidFill>
              <a:srgbClr val="E1053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prstClr val="white"/>
                </a:solidFill>
                <a:latin typeface="Helvetica"/>
                <a:cs typeface="Helvetica"/>
              </a:endParaRPr>
            </a:p>
          </p:txBody>
        </p:sp>
      </p:grpSp>
      <p:sp>
        <p:nvSpPr>
          <p:cNvPr id="3" name="MSIPCMContentMarking" descr="{&quot;HashCode&quot;:900094946,&quot;Placement&quot;:&quot;Footer&quot;,&quot;Top&quot;:519.343,&quot;Left&quot;:411.339752,&quot;SlideWidth&quot;:960,&quot;SlideHeight&quot;:540}">
            <a:extLst>
              <a:ext uri="{FF2B5EF4-FFF2-40B4-BE49-F238E27FC236}">
                <a16:creationId xmlns:a16="http://schemas.microsoft.com/office/drawing/2014/main" id="{3B7F002B-7157-448E-AB73-19EC1E6B3A43}"/>
              </a:ext>
            </a:extLst>
          </p:cNvPr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2269232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orbel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23.xml"/><Relationship Id="rId7" Type="http://schemas.openxmlformats.org/officeDocument/2006/relationships/diagramData" Target="../diagrams/data3.xml"/><Relationship Id="rId12" Type="http://schemas.openxmlformats.org/officeDocument/2006/relationships/image" Target="../media/image33.png"/><Relationship Id="rId2" Type="http://schemas.openxmlformats.org/officeDocument/2006/relationships/tags" Target="../tags/tag55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3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37.bin"/><Relationship Id="rId15" Type="http://schemas.openxmlformats.org/officeDocument/2006/relationships/image" Target="../media/image37.png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8.xml"/><Relationship Id="rId9" Type="http://schemas.openxmlformats.org/officeDocument/2006/relationships/diagramQuickStyle" Target="../diagrams/quickStyle3.xml"/><Relationship Id="rId1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3.xml"/><Relationship Id="rId7" Type="http://schemas.openxmlformats.org/officeDocument/2006/relationships/diagramData" Target="../diagrams/data4.xml"/><Relationship Id="rId12" Type="http://schemas.openxmlformats.org/officeDocument/2006/relationships/image" Target="../media/image3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3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38.bin"/><Relationship Id="rId15" Type="http://schemas.openxmlformats.org/officeDocument/2006/relationships/image" Target="../media/image41.png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9.xml"/><Relationship Id="rId9" Type="http://schemas.openxmlformats.org/officeDocument/2006/relationships/diagramQuickStyle" Target="../diagrams/quickStyle4.xml"/><Relationship Id="rId1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3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44.PNG"/><Relationship Id="rId2" Type="http://schemas.openxmlformats.org/officeDocument/2006/relationships/tags" Target="../tags/tag5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45.PNG"/><Relationship Id="rId2" Type="http://schemas.openxmlformats.org/officeDocument/2006/relationships/tags" Target="../tags/tag5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2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47.png"/><Relationship Id="rId12" Type="http://schemas.openxmlformats.org/officeDocument/2006/relationships/image" Target="../media/image51.png"/><Relationship Id="rId2" Type="http://schemas.openxmlformats.org/officeDocument/2006/relationships/tags" Target="../tags/tag60.xml"/><Relationship Id="rId16" Type="http://schemas.openxmlformats.org/officeDocument/2006/relationships/image" Target="../media/image55.png"/><Relationship Id="rId1" Type="http://schemas.openxmlformats.org/officeDocument/2006/relationships/vmlDrawing" Target="../drawings/vmlDrawing42.vml"/><Relationship Id="rId6" Type="http://schemas.openxmlformats.org/officeDocument/2006/relationships/image" Target="../media/image46.jpeg"/><Relationship Id="rId11" Type="http://schemas.openxmlformats.org/officeDocument/2006/relationships/image" Target="../media/image50.png"/><Relationship Id="rId5" Type="http://schemas.openxmlformats.org/officeDocument/2006/relationships/image" Target="../media/image42.emf"/><Relationship Id="rId15" Type="http://schemas.openxmlformats.org/officeDocument/2006/relationships/image" Target="../media/image54.png"/><Relationship Id="rId10" Type="http://schemas.microsoft.com/office/2007/relationships/hdphoto" Target="../media/hdphoto2.wdp"/><Relationship Id="rId4" Type="http://schemas.openxmlformats.org/officeDocument/2006/relationships/oleObject" Target="../embeddings/oleObject42.bin"/><Relationship Id="rId9" Type="http://schemas.openxmlformats.org/officeDocument/2006/relationships/image" Target="../media/image49.png"/><Relationship Id="rId14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1.png"/><Relationship Id="rId2" Type="http://schemas.openxmlformats.org/officeDocument/2006/relationships/tags" Target="../tags/tag61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2.PNG"/><Relationship Id="rId2" Type="http://schemas.openxmlformats.org/officeDocument/2006/relationships/tags" Target="../tags/tag4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13" Type="http://schemas.openxmlformats.org/officeDocument/2006/relationships/image" Target="../media/image30.sv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25.png"/><Relationship Id="rId12" Type="http://schemas.openxmlformats.org/officeDocument/2006/relationships/image" Target="../media/image29.png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3.emf"/><Relationship Id="rId11" Type="http://schemas.openxmlformats.org/officeDocument/2006/relationships/image" Target="../media/image28.sv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2.PNG"/><Relationship Id="rId2" Type="http://schemas.openxmlformats.org/officeDocument/2006/relationships/tags" Target="../tags/tag5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2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1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3.emf"/><Relationship Id="rId11" Type="http://schemas.microsoft.com/office/2007/relationships/hdphoto" Target="../media/hdphoto1.wdp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slideLayout" Target="../slideLayouts/slideLayout23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54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36.bin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7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 l="40000" r="-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293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T-IPm-8460 and Red Lion Workbench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Product Introduction</a:t>
            </a:r>
          </a:p>
        </p:txBody>
      </p:sp>
    </p:spTree>
    <p:extLst>
      <p:ext uri="{BB962C8B-B14F-4D97-AF65-F5344CB8AC3E}">
        <p14:creationId xmlns:p14="http://schemas.microsoft.com/office/powerpoint/2010/main" val="2181257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892785D-B338-4A70-9B7F-61CA34B472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385" imgH="381" progId="TCLayout.ActiveDocument.1">
                  <p:embed/>
                </p:oleObj>
              </mc:Choice>
              <mc:Fallback>
                <p:oleObj name="think-cell Slide" r:id="rId5" imgW="385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892785D-B338-4A70-9B7F-61CA34B47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3226DD-B3ED-40F4-A10C-B944E61EA7E5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Tool Kit and Red Lion Workben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21023A-4228-4B3A-BCE8-C6832BB4C07E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Separate Variable Database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4629B67-4920-4EB7-B545-4254B5B463CD}"/>
              </a:ext>
            </a:extLst>
          </p:cNvPr>
          <p:cNvSpPr/>
          <p:nvPr/>
        </p:nvSpPr>
        <p:spPr>
          <a:xfrm>
            <a:off x="3546703" y="2368685"/>
            <a:ext cx="1931377" cy="115081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ool Ki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9E6F764-68A3-4341-8A65-EC478584418F}"/>
              </a:ext>
            </a:extLst>
          </p:cNvPr>
          <p:cNvSpPr/>
          <p:nvPr/>
        </p:nvSpPr>
        <p:spPr>
          <a:xfrm>
            <a:off x="9152805" y="2329654"/>
            <a:ext cx="1931378" cy="115081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L Workbench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7C4F6DC-570B-4A6C-904F-4277CC69D595}"/>
              </a:ext>
            </a:extLst>
          </p:cNvPr>
          <p:cNvGrpSpPr/>
          <p:nvPr/>
        </p:nvGrpSpPr>
        <p:grpSpPr>
          <a:xfrm>
            <a:off x="5478080" y="4710443"/>
            <a:ext cx="3398257" cy="1750843"/>
            <a:chOff x="3756771" y="3823594"/>
            <a:chExt cx="5119566" cy="263769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44284FAF-79D8-4A08-97B8-69DEEA07398C}"/>
                </a:ext>
              </a:extLst>
            </p:cNvPr>
            <p:cNvSpPr/>
            <p:nvPr/>
          </p:nvSpPr>
          <p:spPr>
            <a:xfrm>
              <a:off x="3756771" y="3823594"/>
              <a:ext cx="5119566" cy="2637692"/>
            </a:xfrm>
            <a:prstGeom prst="roundRect">
              <a:avLst/>
            </a:prstGeom>
            <a:noFill/>
            <a:ln w="666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ST-IPm-8460</a:t>
              </a:r>
            </a:p>
          </p:txBody>
        </p:sp>
        <p:sp>
          <p:nvSpPr>
            <p:cNvPr id="3" name="Cylinder 2">
              <a:extLst>
                <a:ext uri="{FF2B5EF4-FFF2-40B4-BE49-F238E27FC236}">
                  <a16:creationId xmlns:a16="http://schemas.microsoft.com/office/drawing/2014/main" id="{0BFE586F-D7C7-4B5D-8BE1-66776C53277C}"/>
                </a:ext>
              </a:extLst>
            </p:cNvPr>
            <p:cNvSpPr/>
            <p:nvPr/>
          </p:nvSpPr>
          <p:spPr>
            <a:xfrm>
              <a:off x="6866884" y="4570618"/>
              <a:ext cx="1850065" cy="1786270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Red Lion Runtime</a:t>
              </a:r>
            </a:p>
          </p:txBody>
        </p:sp>
        <p:sp>
          <p:nvSpPr>
            <p:cNvPr id="11" name="Cylinder 10">
              <a:extLst>
                <a:ext uri="{FF2B5EF4-FFF2-40B4-BE49-F238E27FC236}">
                  <a16:creationId xmlns:a16="http://schemas.microsoft.com/office/drawing/2014/main" id="{210375B1-82E8-448A-9789-13FC817A61BF}"/>
                </a:ext>
              </a:extLst>
            </p:cNvPr>
            <p:cNvSpPr/>
            <p:nvPr/>
          </p:nvSpPr>
          <p:spPr>
            <a:xfrm>
              <a:off x="3976893" y="4611619"/>
              <a:ext cx="1850065" cy="1786270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Tool Kit</a:t>
              </a:r>
            </a:p>
            <a:p>
              <a:pPr algn="ctr"/>
              <a:r>
                <a:rPr lang="en-US"/>
                <a:t>I/O Database</a:t>
              </a:r>
            </a:p>
          </p:txBody>
        </p:sp>
        <p:sp>
          <p:nvSpPr>
            <p:cNvPr id="13" name="Arrow: Left-Right 12">
              <a:extLst>
                <a:ext uri="{FF2B5EF4-FFF2-40B4-BE49-F238E27FC236}">
                  <a16:creationId xmlns:a16="http://schemas.microsoft.com/office/drawing/2014/main" id="{DD697CD2-449B-454C-B08C-BB472AF8466D}"/>
                </a:ext>
              </a:extLst>
            </p:cNvPr>
            <p:cNvSpPr/>
            <p:nvPr/>
          </p:nvSpPr>
          <p:spPr>
            <a:xfrm>
              <a:off x="5849366" y="5348181"/>
              <a:ext cx="955190" cy="543858"/>
            </a:xfrm>
            <a:prstGeom prst="left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833ED87-EA64-451C-99A8-97B5A6E7982B}"/>
              </a:ext>
            </a:extLst>
          </p:cNvPr>
          <p:cNvGrpSpPr/>
          <p:nvPr/>
        </p:nvGrpSpPr>
        <p:grpSpPr>
          <a:xfrm>
            <a:off x="3353133" y="4494751"/>
            <a:ext cx="2271059" cy="1897237"/>
            <a:chOff x="555482" y="3603048"/>
            <a:chExt cx="5068710" cy="2858238"/>
          </a:xfrm>
        </p:grpSpPr>
        <p:graphicFrame>
          <p:nvGraphicFramePr>
            <p:cNvPr id="14" name="Diagram 13">
              <a:extLst>
                <a:ext uri="{FF2B5EF4-FFF2-40B4-BE49-F238E27FC236}">
                  <a16:creationId xmlns:a16="http://schemas.microsoft.com/office/drawing/2014/main" id="{82513131-01A3-4176-8FDF-45C22EEAC6AA}"/>
                </a:ext>
              </a:extLst>
            </p:cNvPr>
            <p:cNvGraphicFramePr/>
            <p:nvPr/>
          </p:nvGraphicFramePr>
          <p:xfrm>
            <a:off x="598417" y="3603048"/>
            <a:ext cx="2858513" cy="265321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C5D7729-BB6C-4A2B-AB7B-A03426A39FB1}"/>
                </a:ext>
              </a:extLst>
            </p:cNvPr>
            <p:cNvSpPr/>
            <p:nvPr/>
          </p:nvSpPr>
          <p:spPr>
            <a:xfrm>
              <a:off x="555482" y="3603048"/>
              <a:ext cx="3138961" cy="2858238"/>
            </a:xfrm>
            <a:prstGeom prst="rect">
              <a:avLst/>
            </a:pr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7CC5240-BC04-420D-B2AE-7D67AF10A2E6}"/>
                </a:ext>
              </a:extLst>
            </p:cNvPr>
            <p:cNvCxnSpPr>
              <a:stCxn id="11" idx="2"/>
            </p:cNvCxnSpPr>
            <p:nvPr/>
          </p:nvCxnSpPr>
          <p:spPr>
            <a:xfrm flipH="1" flipV="1">
              <a:off x="3694443" y="3603048"/>
              <a:ext cx="1929749" cy="2223313"/>
            </a:xfrm>
            <a:prstGeom prst="line">
              <a:avLst/>
            </a:prstGeom>
            <a:ln w="508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09EA2B0-0A2B-4912-B000-8639E3867BB5}"/>
                </a:ext>
              </a:extLst>
            </p:cNvPr>
            <p:cNvCxnSpPr>
              <a:stCxn id="11" idx="2"/>
            </p:cNvCxnSpPr>
            <p:nvPr/>
          </p:nvCxnSpPr>
          <p:spPr>
            <a:xfrm flipH="1">
              <a:off x="3694443" y="5826361"/>
              <a:ext cx="1929749" cy="634925"/>
            </a:xfrm>
            <a:prstGeom prst="line">
              <a:avLst/>
            </a:prstGeom>
            <a:ln w="508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Placeholder 31" descr="A screenshot of a cell phone&#10;&#10;Description automatically generated">
            <a:extLst>
              <a:ext uri="{FF2B5EF4-FFF2-40B4-BE49-F238E27FC236}">
                <a16:creationId xmlns:a16="http://schemas.microsoft.com/office/drawing/2014/main" id="{767D867E-13F6-44C3-A9EE-5203F3117C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0" r="5990"/>
          <a:stretch>
            <a:fillRect/>
          </a:stretch>
        </p:blipFill>
        <p:spPr>
          <a:xfrm>
            <a:off x="9152805" y="4300170"/>
            <a:ext cx="2662151" cy="1812261"/>
          </a:xfrm>
          <a:prstGeom prst="parallelogram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AB79081-9FC8-4FBB-96A0-8DAEBB41E484}"/>
              </a:ext>
            </a:extLst>
          </p:cNvPr>
          <p:cNvSpPr txBox="1"/>
          <p:nvPr/>
        </p:nvSpPr>
        <p:spPr>
          <a:xfrm>
            <a:off x="10095315" y="4423426"/>
            <a:ext cx="1866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ogram</a:t>
            </a:r>
          </a:p>
        </p:txBody>
      </p:sp>
      <p:pic>
        <p:nvPicPr>
          <p:cNvPr id="26" name="Picture Placeholder 31">
            <a:extLst>
              <a:ext uri="{FF2B5EF4-FFF2-40B4-BE49-F238E27FC236}">
                <a16:creationId xmlns:a16="http://schemas.microsoft.com/office/drawing/2014/main" id="{034DBEA0-739E-443B-89F3-8906908DC07C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129"/>
          <a:stretch/>
        </p:blipFill>
        <p:spPr>
          <a:xfrm>
            <a:off x="867548" y="3506370"/>
            <a:ext cx="1829697" cy="843586"/>
          </a:xfrm>
          <a:prstGeom prst="parallelogram">
            <a:avLst/>
          </a:prstGeom>
        </p:spPr>
      </p:pic>
      <p:pic>
        <p:nvPicPr>
          <p:cNvPr id="28" name="Picture Placeholder 31">
            <a:extLst>
              <a:ext uri="{FF2B5EF4-FFF2-40B4-BE49-F238E27FC236}">
                <a16:creationId xmlns:a16="http://schemas.microsoft.com/office/drawing/2014/main" id="{4F1166A1-015A-4E82-843F-32B1BEBE6A5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2188" y="4421461"/>
            <a:ext cx="1829697" cy="875854"/>
          </a:xfrm>
          <a:prstGeom prst="parallelogram">
            <a:avLst/>
          </a:prstGeom>
        </p:spPr>
      </p:pic>
      <p:pic>
        <p:nvPicPr>
          <p:cNvPr id="29" name="Picture Placeholder 31">
            <a:extLst>
              <a:ext uri="{FF2B5EF4-FFF2-40B4-BE49-F238E27FC236}">
                <a16:creationId xmlns:a16="http://schemas.microsoft.com/office/drawing/2014/main" id="{25440588-F5BE-4D1B-BB8E-249C21EC59D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215" y="5462687"/>
            <a:ext cx="1829697" cy="678758"/>
          </a:xfrm>
          <a:prstGeom prst="parallelogram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8B06ACF7-C277-4E91-8224-F587292D6E9E}"/>
              </a:ext>
            </a:extLst>
          </p:cNvPr>
          <p:cNvSpPr txBox="1"/>
          <p:nvPr/>
        </p:nvSpPr>
        <p:spPr>
          <a:xfrm>
            <a:off x="1190945" y="4026791"/>
            <a:ext cx="20549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err="1"/>
              <a:t>Datalog</a:t>
            </a:r>
            <a:endParaRPr lang="en-US"/>
          </a:p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0180DB-8092-47CB-B52A-B6AE94A4990A}"/>
              </a:ext>
            </a:extLst>
          </p:cNvPr>
          <p:cNvSpPr txBox="1"/>
          <p:nvPr/>
        </p:nvSpPr>
        <p:spPr>
          <a:xfrm>
            <a:off x="831866" y="4939315"/>
            <a:ext cx="18296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/O Transf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FFCC860-3CE1-4A50-BBE1-54E15D75CF4A}"/>
              </a:ext>
            </a:extLst>
          </p:cNvPr>
          <p:cNvSpPr txBox="1"/>
          <p:nvPr/>
        </p:nvSpPr>
        <p:spPr>
          <a:xfrm>
            <a:off x="1039084" y="5820907"/>
            <a:ext cx="12807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CADA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EF773DCB-A38C-40AD-804E-E35C4EF5896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72" b="14172"/>
          <a:stretch/>
        </p:blipFill>
        <p:spPr>
          <a:xfrm>
            <a:off x="1035300" y="2348154"/>
            <a:ext cx="1829697" cy="843586"/>
          </a:xfrm>
          <a:prstGeom prst="parallelogram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F2C20901-EB1D-4478-9D98-5F85D216D1F5}"/>
              </a:ext>
            </a:extLst>
          </p:cNvPr>
          <p:cNvSpPr txBox="1"/>
          <p:nvPr/>
        </p:nvSpPr>
        <p:spPr>
          <a:xfrm>
            <a:off x="1292389" y="2909319"/>
            <a:ext cx="1572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Redundancy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6672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892785D-B338-4A70-9B7F-61CA34B472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385" imgH="381" progId="TCLayout.ActiveDocument.1">
                  <p:embed/>
                </p:oleObj>
              </mc:Choice>
              <mc:Fallback>
                <p:oleObj name="think-cell Slide" r:id="rId5" imgW="385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892785D-B338-4A70-9B7F-61CA34B47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3226DD-B3ED-40F4-A10C-B944E61EA7E5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Red Lion Workben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21023A-4228-4B3A-BCE8-C6832BB4C07E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/>
              <a:t>One Variable Databas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4629B67-4920-4EB7-B545-4254B5B463CD}"/>
              </a:ext>
            </a:extLst>
          </p:cNvPr>
          <p:cNvSpPr/>
          <p:nvPr/>
        </p:nvSpPr>
        <p:spPr>
          <a:xfrm>
            <a:off x="1238569" y="1916441"/>
            <a:ext cx="1936645" cy="1157692"/>
          </a:xfrm>
          <a:custGeom>
            <a:avLst/>
            <a:gdLst>
              <a:gd name="connsiteX0" fmla="*/ 0 w 1931377"/>
              <a:gd name="connsiteY0" fmla="*/ 191807 h 1150816"/>
              <a:gd name="connsiteX1" fmla="*/ 191807 w 1931377"/>
              <a:gd name="connsiteY1" fmla="*/ 0 h 1150816"/>
              <a:gd name="connsiteX2" fmla="*/ 1739570 w 1931377"/>
              <a:gd name="connsiteY2" fmla="*/ 0 h 1150816"/>
              <a:gd name="connsiteX3" fmla="*/ 1931377 w 1931377"/>
              <a:gd name="connsiteY3" fmla="*/ 191807 h 1150816"/>
              <a:gd name="connsiteX4" fmla="*/ 1931377 w 1931377"/>
              <a:gd name="connsiteY4" fmla="*/ 959009 h 1150816"/>
              <a:gd name="connsiteX5" fmla="*/ 1739570 w 1931377"/>
              <a:gd name="connsiteY5" fmla="*/ 1150816 h 1150816"/>
              <a:gd name="connsiteX6" fmla="*/ 191807 w 1931377"/>
              <a:gd name="connsiteY6" fmla="*/ 1150816 h 1150816"/>
              <a:gd name="connsiteX7" fmla="*/ 0 w 1931377"/>
              <a:gd name="connsiteY7" fmla="*/ 959009 h 1150816"/>
              <a:gd name="connsiteX8" fmla="*/ 0 w 1931377"/>
              <a:gd name="connsiteY8" fmla="*/ 191807 h 1150816"/>
              <a:gd name="connsiteX0" fmla="*/ 0 w 1935603"/>
              <a:gd name="connsiteY0" fmla="*/ 191807 h 1150816"/>
              <a:gd name="connsiteX1" fmla="*/ 191807 w 1935603"/>
              <a:gd name="connsiteY1" fmla="*/ 0 h 1150816"/>
              <a:gd name="connsiteX2" fmla="*/ 1856448 w 1935603"/>
              <a:gd name="connsiteY2" fmla="*/ 13751 h 1150816"/>
              <a:gd name="connsiteX3" fmla="*/ 1931377 w 1935603"/>
              <a:gd name="connsiteY3" fmla="*/ 191807 h 1150816"/>
              <a:gd name="connsiteX4" fmla="*/ 1931377 w 1935603"/>
              <a:gd name="connsiteY4" fmla="*/ 959009 h 1150816"/>
              <a:gd name="connsiteX5" fmla="*/ 1739570 w 1935603"/>
              <a:gd name="connsiteY5" fmla="*/ 1150816 h 1150816"/>
              <a:gd name="connsiteX6" fmla="*/ 191807 w 1935603"/>
              <a:gd name="connsiteY6" fmla="*/ 1150816 h 1150816"/>
              <a:gd name="connsiteX7" fmla="*/ 0 w 1935603"/>
              <a:gd name="connsiteY7" fmla="*/ 959009 h 1150816"/>
              <a:gd name="connsiteX8" fmla="*/ 0 w 1935603"/>
              <a:gd name="connsiteY8" fmla="*/ 191807 h 1150816"/>
              <a:gd name="connsiteX0" fmla="*/ 6585 w 1942188"/>
              <a:gd name="connsiteY0" fmla="*/ 205558 h 1164567"/>
              <a:gd name="connsiteX1" fmla="*/ 74639 w 1942188"/>
              <a:gd name="connsiteY1" fmla="*/ 0 h 1164567"/>
              <a:gd name="connsiteX2" fmla="*/ 1863033 w 1942188"/>
              <a:gd name="connsiteY2" fmla="*/ 27502 h 1164567"/>
              <a:gd name="connsiteX3" fmla="*/ 1937962 w 1942188"/>
              <a:gd name="connsiteY3" fmla="*/ 205558 h 1164567"/>
              <a:gd name="connsiteX4" fmla="*/ 1937962 w 1942188"/>
              <a:gd name="connsiteY4" fmla="*/ 972760 h 1164567"/>
              <a:gd name="connsiteX5" fmla="*/ 1746155 w 1942188"/>
              <a:gd name="connsiteY5" fmla="*/ 1164567 h 1164567"/>
              <a:gd name="connsiteX6" fmla="*/ 198392 w 1942188"/>
              <a:gd name="connsiteY6" fmla="*/ 1164567 h 1164567"/>
              <a:gd name="connsiteX7" fmla="*/ 6585 w 1942188"/>
              <a:gd name="connsiteY7" fmla="*/ 972760 h 1164567"/>
              <a:gd name="connsiteX8" fmla="*/ 6585 w 1942188"/>
              <a:gd name="connsiteY8" fmla="*/ 205558 h 1164567"/>
              <a:gd name="connsiteX0" fmla="*/ 6585 w 1942188"/>
              <a:gd name="connsiteY0" fmla="*/ 205558 h 1164567"/>
              <a:gd name="connsiteX1" fmla="*/ 74639 w 1942188"/>
              <a:gd name="connsiteY1" fmla="*/ 0 h 1164567"/>
              <a:gd name="connsiteX2" fmla="*/ 1863033 w 1942188"/>
              <a:gd name="connsiteY2" fmla="*/ 27502 h 1164567"/>
              <a:gd name="connsiteX3" fmla="*/ 1937962 w 1942188"/>
              <a:gd name="connsiteY3" fmla="*/ 205558 h 1164567"/>
              <a:gd name="connsiteX4" fmla="*/ 1931086 w 1942188"/>
              <a:gd name="connsiteY4" fmla="*/ 635875 h 1164567"/>
              <a:gd name="connsiteX5" fmla="*/ 1746155 w 1942188"/>
              <a:gd name="connsiteY5" fmla="*/ 1164567 h 1164567"/>
              <a:gd name="connsiteX6" fmla="*/ 198392 w 1942188"/>
              <a:gd name="connsiteY6" fmla="*/ 1164567 h 1164567"/>
              <a:gd name="connsiteX7" fmla="*/ 6585 w 1942188"/>
              <a:gd name="connsiteY7" fmla="*/ 972760 h 1164567"/>
              <a:gd name="connsiteX8" fmla="*/ 6585 w 1942188"/>
              <a:gd name="connsiteY8" fmla="*/ 205558 h 1164567"/>
              <a:gd name="connsiteX0" fmla="*/ 6585 w 1942188"/>
              <a:gd name="connsiteY0" fmla="*/ 205558 h 1164567"/>
              <a:gd name="connsiteX1" fmla="*/ 74639 w 1942188"/>
              <a:gd name="connsiteY1" fmla="*/ 0 h 1164567"/>
              <a:gd name="connsiteX2" fmla="*/ 1863033 w 1942188"/>
              <a:gd name="connsiteY2" fmla="*/ 27502 h 1164567"/>
              <a:gd name="connsiteX3" fmla="*/ 1937962 w 1942188"/>
              <a:gd name="connsiteY3" fmla="*/ 205558 h 1164567"/>
              <a:gd name="connsiteX4" fmla="*/ 1931086 w 1942188"/>
              <a:gd name="connsiteY4" fmla="*/ 635875 h 1164567"/>
              <a:gd name="connsiteX5" fmla="*/ 1732405 w 1942188"/>
              <a:gd name="connsiteY5" fmla="*/ 758931 h 1164567"/>
              <a:gd name="connsiteX6" fmla="*/ 198392 w 1942188"/>
              <a:gd name="connsiteY6" fmla="*/ 1164567 h 1164567"/>
              <a:gd name="connsiteX7" fmla="*/ 6585 w 1942188"/>
              <a:gd name="connsiteY7" fmla="*/ 972760 h 1164567"/>
              <a:gd name="connsiteX8" fmla="*/ 6585 w 1942188"/>
              <a:gd name="connsiteY8" fmla="*/ 205558 h 1164567"/>
              <a:gd name="connsiteX0" fmla="*/ 6585 w 1942188"/>
              <a:gd name="connsiteY0" fmla="*/ 205558 h 1164567"/>
              <a:gd name="connsiteX1" fmla="*/ 74639 w 1942188"/>
              <a:gd name="connsiteY1" fmla="*/ 0 h 1164567"/>
              <a:gd name="connsiteX2" fmla="*/ 1863033 w 1942188"/>
              <a:gd name="connsiteY2" fmla="*/ 27502 h 1164567"/>
              <a:gd name="connsiteX3" fmla="*/ 1937962 w 1942188"/>
              <a:gd name="connsiteY3" fmla="*/ 205558 h 1164567"/>
              <a:gd name="connsiteX4" fmla="*/ 1931086 w 1942188"/>
              <a:gd name="connsiteY4" fmla="*/ 635875 h 1164567"/>
              <a:gd name="connsiteX5" fmla="*/ 1732405 w 1942188"/>
              <a:gd name="connsiteY5" fmla="*/ 758931 h 1164567"/>
              <a:gd name="connsiteX6" fmla="*/ 198392 w 1942188"/>
              <a:gd name="connsiteY6" fmla="*/ 1164567 h 1164567"/>
              <a:gd name="connsiteX7" fmla="*/ 6585 w 1942188"/>
              <a:gd name="connsiteY7" fmla="*/ 972760 h 1164567"/>
              <a:gd name="connsiteX8" fmla="*/ 6585 w 1942188"/>
              <a:gd name="connsiteY8" fmla="*/ 205558 h 1164567"/>
              <a:gd name="connsiteX0" fmla="*/ 6585 w 1942188"/>
              <a:gd name="connsiteY0" fmla="*/ 205558 h 1157692"/>
              <a:gd name="connsiteX1" fmla="*/ 74639 w 1942188"/>
              <a:gd name="connsiteY1" fmla="*/ 0 h 1157692"/>
              <a:gd name="connsiteX2" fmla="*/ 1863033 w 1942188"/>
              <a:gd name="connsiteY2" fmla="*/ 27502 h 1157692"/>
              <a:gd name="connsiteX3" fmla="*/ 1937962 w 1942188"/>
              <a:gd name="connsiteY3" fmla="*/ 205558 h 1157692"/>
              <a:gd name="connsiteX4" fmla="*/ 1931086 w 1942188"/>
              <a:gd name="connsiteY4" fmla="*/ 635875 h 1157692"/>
              <a:gd name="connsiteX5" fmla="*/ 1732405 w 1942188"/>
              <a:gd name="connsiteY5" fmla="*/ 758931 h 1157692"/>
              <a:gd name="connsiteX6" fmla="*/ 308395 w 1942188"/>
              <a:gd name="connsiteY6" fmla="*/ 1157692 h 1157692"/>
              <a:gd name="connsiteX7" fmla="*/ 6585 w 1942188"/>
              <a:gd name="connsiteY7" fmla="*/ 972760 h 1157692"/>
              <a:gd name="connsiteX8" fmla="*/ 6585 w 1942188"/>
              <a:gd name="connsiteY8" fmla="*/ 205558 h 1157692"/>
              <a:gd name="connsiteX0" fmla="*/ 6585 w 1942188"/>
              <a:gd name="connsiteY0" fmla="*/ 205558 h 1157692"/>
              <a:gd name="connsiteX1" fmla="*/ 74639 w 1942188"/>
              <a:gd name="connsiteY1" fmla="*/ 0 h 1157692"/>
              <a:gd name="connsiteX2" fmla="*/ 1863033 w 1942188"/>
              <a:gd name="connsiteY2" fmla="*/ 27502 h 1157692"/>
              <a:gd name="connsiteX3" fmla="*/ 1937962 w 1942188"/>
              <a:gd name="connsiteY3" fmla="*/ 205558 h 1157692"/>
              <a:gd name="connsiteX4" fmla="*/ 1931086 w 1942188"/>
              <a:gd name="connsiteY4" fmla="*/ 787129 h 1157692"/>
              <a:gd name="connsiteX5" fmla="*/ 1732405 w 1942188"/>
              <a:gd name="connsiteY5" fmla="*/ 758931 h 1157692"/>
              <a:gd name="connsiteX6" fmla="*/ 308395 w 1942188"/>
              <a:gd name="connsiteY6" fmla="*/ 1157692 h 1157692"/>
              <a:gd name="connsiteX7" fmla="*/ 6585 w 1942188"/>
              <a:gd name="connsiteY7" fmla="*/ 972760 h 1157692"/>
              <a:gd name="connsiteX8" fmla="*/ 6585 w 1942188"/>
              <a:gd name="connsiteY8" fmla="*/ 205558 h 1157692"/>
              <a:gd name="connsiteX0" fmla="*/ 6585 w 1942188"/>
              <a:gd name="connsiteY0" fmla="*/ 205558 h 1157692"/>
              <a:gd name="connsiteX1" fmla="*/ 74639 w 1942188"/>
              <a:gd name="connsiteY1" fmla="*/ 0 h 1157692"/>
              <a:gd name="connsiteX2" fmla="*/ 1863033 w 1942188"/>
              <a:gd name="connsiteY2" fmla="*/ 27502 h 1157692"/>
              <a:gd name="connsiteX3" fmla="*/ 1937962 w 1942188"/>
              <a:gd name="connsiteY3" fmla="*/ 205558 h 1157692"/>
              <a:gd name="connsiteX4" fmla="*/ 1931086 w 1942188"/>
              <a:gd name="connsiteY4" fmla="*/ 787129 h 1157692"/>
              <a:gd name="connsiteX5" fmla="*/ 1739280 w 1942188"/>
              <a:gd name="connsiteY5" fmla="*/ 855184 h 1157692"/>
              <a:gd name="connsiteX6" fmla="*/ 308395 w 1942188"/>
              <a:gd name="connsiteY6" fmla="*/ 1157692 h 1157692"/>
              <a:gd name="connsiteX7" fmla="*/ 6585 w 1942188"/>
              <a:gd name="connsiteY7" fmla="*/ 972760 h 1157692"/>
              <a:gd name="connsiteX8" fmla="*/ 6585 w 1942188"/>
              <a:gd name="connsiteY8" fmla="*/ 205558 h 1157692"/>
              <a:gd name="connsiteX0" fmla="*/ 1042 w 1936645"/>
              <a:gd name="connsiteY0" fmla="*/ 205558 h 1157692"/>
              <a:gd name="connsiteX1" fmla="*/ 89721 w 1936645"/>
              <a:gd name="connsiteY1" fmla="*/ 0 h 1157692"/>
              <a:gd name="connsiteX2" fmla="*/ 1857490 w 1936645"/>
              <a:gd name="connsiteY2" fmla="*/ 27502 h 1157692"/>
              <a:gd name="connsiteX3" fmla="*/ 1932419 w 1936645"/>
              <a:gd name="connsiteY3" fmla="*/ 205558 h 1157692"/>
              <a:gd name="connsiteX4" fmla="*/ 1925543 w 1936645"/>
              <a:gd name="connsiteY4" fmla="*/ 787129 h 1157692"/>
              <a:gd name="connsiteX5" fmla="*/ 1733737 w 1936645"/>
              <a:gd name="connsiteY5" fmla="*/ 855184 h 1157692"/>
              <a:gd name="connsiteX6" fmla="*/ 302852 w 1936645"/>
              <a:gd name="connsiteY6" fmla="*/ 1157692 h 1157692"/>
              <a:gd name="connsiteX7" fmla="*/ 1042 w 1936645"/>
              <a:gd name="connsiteY7" fmla="*/ 972760 h 1157692"/>
              <a:gd name="connsiteX8" fmla="*/ 1042 w 1936645"/>
              <a:gd name="connsiteY8" fmla="*/ 205558 h 1157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36645" h="1157692">
                <a:moveTo>
                  <a:pt x="1042" y="205558"/>
                </a:moveTo>
                <a:cubicBezTo>
                  <a:pt x="1042" y="99626"/>
                  <a:pt x="-16211" y="0"/>
                  <a:pt x="89721" y="0"/>
                </a:cubicBezTo>
                <a:lnTo>
                  <a:pt x="1857490" y="27502"/>
                </a:lnTo>
                <a:cubicBezTo>
                  <a:pt x="1963422" y="27502"/>
                  <a:pt x="1932419" y="99626"/>
                  <a:pt x="1932419" y="205558"/>
                </a:cubicBezTo>
                <a:lnTo>
                  <a:pt x="1925543" y="787129"/>
                </a:lnTo>
                <a:cubicBezTo>
                  <a:pt x="1925543" y="893061"/>
                  <a:pt x="1839669" y="855184"/>
                  <a:pt x="1733737" y="855184"/>
                </a:cubicBezTo>
                <a:cubicBezTo>
                  <a:pt x="445503" y="825391"/>
                  <a:pt x="814190" y="1022480"/>
                  <a:pt x="302852" y="1157692"/>
                </a:cubicBezTo>
                <a:cubicBezTo>
                  <a:pt x="196920" y="1157692"/>
                  <a:pt x="1042" y="1078692"/>
                  <a:pt x="1042" y="972760"/>
                </a:cubicBezTo>
                <a:lnTo>
                  <a:pt x="1042" y="205558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ool Ki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9E6F764-68A3-4341-8A65-EC478584418F}"/>
              </a:ext>
            </a:extLst>
          </p:cNvPr>
          <p:cNvSpPr/>
          <p:nvPr/>
        </p:nvSpPr>
        <p:spPr>
          <a:xfrm>
            <a:off x="6096000" y="1919618"/>
            <a:ext cx="1931378" cy="115081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L Workbench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979EB4E-A99E-40D7-84A0-9E4B1F44D9DD}"/>
              </a:ext>
            </a:extLst>
          </p:cNvPr>
          <p:cNvGrpSpPr/>
          <p:nvPr/>
        </p:nvGrpSpPr>
        <p:grpSpPr>
          <a:xfrm>
            <a:off x="4036433" y="3589837"/>
            <a:ext cx="2268583" cy="2637692"/>
            <a:chOff x="6607753" y="3823594"/>
            <a:chExt cx="2268583" cy="2637692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44284FAF-79D8-4A08-97B8-69DEEA07398C}"/>
                </a:ext>
              </a:extLst>
            </p:cNvPr>
            <p:cNvSpPr/>
            <p:nvPr/>
          </p:nvSpPr>
          <p:spPr>
            <a:xfrm>
              <a:off x="6607753" y="3823594"/>
              <a:ext cx="2268583" cy="2637692"/>
            </a:xfrm>
            <a:prstGeom prst="roundRect">
              <a:avLst/>
            </a:prstGeom>
            <a:noFill/>
            <a:ln w="666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ST-IPm-8460</a:t>
              </a:r>
            </a:p>
          </p:txBody>
        </p:sp>
        <p:sp>
          <p:nvSpPr>
            <p:cNvPr id="3" name="Cylinder 2">
              <a:extLst>
                <a:ext uri="{FF2B5EF4-FFF2-40B4-BE49-F238E27FC236}">
                  <a16:creationId xmlns:a16="http://schemas.microsoft.com/office/drawing/2014/main" id="{0BFE586F-D7C7-4B5D-8BE1-66776C53277C}"/>
                </a:ext>
              </a:extLst>
            </p:cNvPr>
            <p:cNvSpPr/>
            <p:nvPr/>
          </p:nvSpPr>
          <p:spPr>
            <a:xfrm>
              <a:off x="6866884" y="4570618"/>
              <a:ext cx="1850065" cy="1786270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/>
                <a:t>Red Lion Runtime</a:t>
              </a:r>
            </a:p>
          </p:txBody>
        </p:sp>
      </p:grp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82E796BF-086C-41E5-8C48-9CF3C2DAB7B9}"/>
              </a:ext>
            </a:extLst>
          </p:cNvPr>
          <p:cNvGraphicFramePr/>
          <p:nvPr/>
        </p:nvGraphicFramePr>
        <p:xfrm>
          <a:off x="6365751" y="3369292"/>
          <a:ext cx="2290910" cy="29829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D613CDA3-16EE-4656-B841-FBAAF6825471}"/>
              </a:ext>
            </a:extLst>
          </p:cNvPr>
          <p:cNvSpPr/>
          <p:nvPr/>
        </p:nvSpPr>
        <p:spPr>
          <a:xfrm>
            <a:off x="6346548" y="3357275"/>
            <a:ext cx="2310114" cy="3075581"/>
          </a:xfrm>
          <a:prstGeom prst="rect">
            <a:avLst/>
          </a:prstGeom>
          <a:solidFill>
            <a:srgbClr val="FFFF00">
              <a:alpha val="40000"/>
            </a:srgb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F47BFFA-8609-4FDF-893E-CD0EBC56354A}"/>
              </a:ext>
            </a:extLst>
          </p:cNvPr>
          <p:cNvCxnSpPr>
            <a:endCxn id="3" idx="4"/>
          </p:cNvCxnSpPr>
          <p:nvPr/>
        </p:nvCxnSpPr>
        <p:spPr>
          <a:xfrm flipH="1">
            <a:off x="6145629" y="3357275"/>
            <a:ext cx="200919" cy="1872721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C47394-0DA0-4561-9B33-F936D5621CCB}"/>
              </a:ext>
            </a:extLst>
          </p:cNvPr>
          <p:cNvCxnSpPr>
            <a:cxnSpLocks/>
            <a:stCxn id="3" idx="4"/>
          </p:cNvCxnSpPr>
          <p:nvPr/>
        </p:nvCxnSpPr>
        <p:spPr>
          <a:xfrm>
            <a:off x="6145629" y="5229996"/>
            <a:ext cx="200918" cy="1202860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Placeholder 31" descr="A screenshot of a cell phone&#10;&#10;Description automatically generated">
            <a:extLst>
              <a:ext uri="{FF2B5EF4-FFF2-40B4-BE49-F238E27FC236}">
                <a16:creationId xmlns:a16="http://schemas.microsoft.com/office/drawing/2014/main" id="{CB9AE1C4-8DAE-485D-BA9C-B540BA405CD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0" r="5990"/>
          <a:stretch>
            <a:fillRect/>
          </a:stretch>
        </p:blipFill>
        <p:spPr>
          <a:xfrm>
            <a:off x="8844721" y="1835726"/>
            <a:ext cx="1805091" cy="1228817"/>
          </a:xfrm>
          <a:prstGeom prst="parallelogram">
            <a:avLst/>
          </a:prstGeom>
        </p:spPr>
      </p:pic>
      <p:pic>
        <p:nvPicPr>
          <p:cNvPr id="38" name="Picture Placeholder 31">
            <a:extLst>
              <a:ext uri="{FF2B5EF4-FFF2-40B4-BE49-F238E27FC236}">
                <a16:creationId xmlns:a16="http://schemas.microsoft.com/office/drawing/2014/main" id="{FC949976-CE08-43D8-9E58-BED1CAC57E3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36302" y="3239131"/>
            <a:ext cx="1805091" cy="1108735"/>
          </a:xfrm>
          <a:prstGeom prst="parallelogram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E85E574-400C-4E57-B998-70A297D183B1}"/>
              </a:ext>
            </a:extLst>
          </p:cNvPr>
          <p:cNvSpPr txBox="1"/>
          <p:nvPr/>
        </p:nvSpPr>
        <p:spPr>
          <a:xfrm>
            <a:off x="1011936" y="3015178"/>
            <a:ext cx="260546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figuration Only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P addr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ser Authent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rewal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1C66B20-F07F-474D-B949-E70BB2F38A97}"/>
              </a:ext>
            </a:extLst>
          </p:cNvPr>
          <p:cNvSpPr txBox="1"/>
          <p:nvPr/>
        </p:nvSpPr>
        <p:spPr>
          <a:xfrm>
            <a:off x="9184026" y="1988213"/>
            <a:ext cx="1126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Progra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E4C0E5A-5FFD-4E67-8804-1ECC312E3ED9}"/>
              </a:ext>
            </a:extLst>
          </p:cNvPr>
          <p:cNvSpPr txBox="1"/>
          <p:nvPr/>
        </p:nvSpPr>
        <p:spPr>
          <a:xfrm>
            <a:off x="9138114" y="3179090"/>
            <a:ext cx="1503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err="1"/>
              <a:t>Datalog</a:t>
            </a:r>
            <a:endParaRPr lang="en-US"/>
          </a:p>
        </p:txBody>
      </p:sp>
      <p:pic>
        <p:nvPicPr>
          <p:cNvPr id="40" name="Picture Placeholder 31">
            <a:extLst>
              <a:ext uri="{FF2B5EF4-FFF2-40B4-BE49-F238E27FC236}">
                <a16:creationId xmlns:a16="http://schemas.microsoft.com/office/drawing/2014/main" id="{0C4415AD-0D30-4869-9168-4604C41EAD7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07472" y="4762213"/>
            <a:ext cx="1805091" cy="847035"/>
          </a:xfrm>
          <a:prstGeom prst="parallelogram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8B445DFB-8C06-434F-A55B-D07E4F0806A1}"/>
              </a:ext>
            </a:extLst>
          </p:cNvPr>
          <p:cNvSpPr txBox="1"/>
          <p:nvPr/>
        </p:nvSpPr>
        <p:spPr>
          <a:xfrm>
            <a:off x="9075695" y="4581718"/>
            <a:ext cx="18050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I/O Transfers</a:t>
            </a:r>
          </a:p>
        </p:txBody>
      </p:sp>
      <p:pic>
        <p:nvPicPr>
          <p:cNvPr id="42" name="Picture Placeholder 31">
            <a:extLst>
              <a:ext uri="{FF2B5EF4-FFF2-40B4-BE49-F238E27FC236}">
                <a16:creationId xmlns:a16="http://schemas.microsoft.com/office/drawing/2014/main" id="{5B59840C-D74D-42AD-B508-2E599588B52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20376" y="5637302"/>
            <a:ext cx="1805091" cy="847035"/>
          </a:xfrm>
          <a:prstGeom prst="parallelogram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958E023A-E20A-48F8-BCA5-D5DD31BD051F}"/>
              </a:ext>
            </a:extLst>
          </p:cNvPr>
          <p:cNvSpPr txBox="1"/>
          <p:nvPr/>
        </p:nvSpPr>
        <p:spPr>
          <a:xfrm>
            <a:off x="9301228" y="5330380"/>
            <a:ext cx="18050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SCADA</a:t>
            </a:r>
          </a:p>
        </p:txBody>
      </p:sp>
      <p:pic>
        <p:nvPicPr>
          <p:cNvPr id="27" name="Picture Placeholder 31">
            <a:extLst>
              <a:ext uri="{FF2B5EF4-FFF2-40B4-BE49-F238E27FC236}">
                <a16:creationId xmlns:a16="http://schemas.microsoft.com/office/drawing/2014/main" id="{D10B0D7B-0B63-4A14-8074-EBCB3B6DDED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6" r="4936"/>
          <a:stretch/>
        </p:blipFill>
        <p:spPr>
          <a:xfrm>
            <a:off x="9112683" y="549724"/>
            <a:ext cx="1829697" cy="843586"/>
          </a:xfrm>
          <a:prstGeom prst="parallelogram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47391FC-FAED-44F8-89BE-D93FCF0D8D02}"/>
              </a:ext>
            </a:extLst>
          </p:cNvPr>
          <p:cNvSpPr txBox="1"/>
          <p:nvPr/>
        </p:nvSpPr>
        <p:spPr>
          <a:xfrm>
            <a:off x="9369772" y="1110889"/>
            <a:ext cx="1572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Redundancy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3199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CD2F8E-424F-45D5-B83D-047C4DA5DD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702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411" imgH="381" progId="TCLayout.ActiveDocument.1">
                  <p:embed/>
                </p:oleObj>
              </mc:Choice>
              <mc:Fallback>
                <p:oleObj name="think-cell Slide" r:id="rId4" imgW="41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CD2F8E-424F-45D5-B83D-047C4DA5D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E31682E-EF61-4283-B5B6-23E6230AD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d Lion Workben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EF2BE1-9BC6-474B-A8DF-0ACDA4F2010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>
                <a:solidFill>
                  <a:srgbClr val="AB2228"/>
                </a:solidFill>
              </a:rPr>
              <a:t>Full Featured Editor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0D6E20-8686-474E-93E7-20B9E319CFD0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9471170" y="1496819"/>
            <a:ext cx="2825692" cy="24007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Multiple Projects Each Project List</a:t>
            </a:r>
          </a:p>
          <a:p>
            <a:pPr marL="0" indent="0">
              <a:buNone/>
            </a:pPr>
            <a:r>
              <a:rPr lang="en-US" sz="1800" dirty="0"/>
              <a:t>Main Window Editor</a:t>
            </a:r>
          </a:p>
          <a:p>
            <a:pPr marL="0" indent="0">
              <a:buNone/>
            </a:pPr>
            <a:r>
              <a:rPr lang="en-US" sz="1800" dirty="0"/>
              <a:t>Global/Local Variable List</a:t>
            </a:r>
          </a:p>
          <a:p>
            <a:pPr marL="0" indent="0">
              <a:buNone/>
            </a:pPr>
            <a:r>
              <a:rPr lang="en-US" sz="1800" dirty="0"/>
              <a:t>Watchlist</a:t>
            </a:r>
          </a:p>
          <a:p>
            <a:pPr marL="0" indent="0">
              <a:buNone/>
            </a:pPr>
            <a:r>
              <a:rPr lang="en-US" sz="1800" dirty="0"/>
              <a:t>List of Functions</a:t>
            </a:r>
          </a:p>
          <a:p>
            <a:pPr marL="0" indent="0">
              <a:buNone/>
            </a:pPr>
            <a:r>
              <a:rPr lang="en-US" sz="1800" dirty="0"/>
              <a:t>Build status output</a:t>
            </a:r>
          </a:p>
        </p:txBody>
      </p:sp>
      <p:pic>
        <p:nvPicPr>
          <p:cNvPr id="7" name="Content Placeholder 6" descr="Graphical user interface&#10;&#10;Description automatically generated">
            <a:extLst>
              <a:ext uri="{FF2B5EF4-FFF2-40B4-BE49-F238E27FC236}">
                <a16:creationId xmlns:a16="http://schemas.microsoft.com/office/drawing/2014/main" id="{8BC99633-D9F8-4C9C-8AA1-8DF61B26664A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361" y="23034"/>
            <a:ext cx="9152389" cy="5734184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7AF1A46A-8C1A-4B30-98C4-0176058521FE}"/>
              </a:ext>
            </a:extLst>
          </p:cNvPr>
          <p:cNvSpPr/>
          <p:nvPr/>
        </p:nvSpPr>
        <p:spPr>
          <a:xfrm>
            <a:off x="7171660" y="1496819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E3435FF-C71D-4055-BCBF-8B67EAD6D319}"/>
              </a:ext>
            </a:extLst>
          </p:cNvPr>
          <p:cNvSpPr/>
          <p:nvPr/>
        </p:nvSpPr>
        <p:spPr>
          <a:xfrm>
            <a:off x="2530651" y="887467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C101263-432B-4C2A-BFF5-C5302883C96D}"/>
              </a:ext>
            </a:extLst>
          </p:cNvPr>
          <p:cNvSpPr/>
          <p:nvPr/>
        </p:nvSpPr>
        <p:spPr>
          <a:xfrm>
            <a:off x="1196557" y="873476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7258425-0087-42AC-BFBB-53073C2424A1}"/>
              </a:ext>
            </a:extLst>
          </p:cNvPr>
          <p:cNvSpPr/>
          <p:nvPr/>
        </p:nvSpPr>
        <p:spPr>
          <a:xfrm>
            <a:off x="1414271" y="2890126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BC5D3F1-395C-44D8-BC21-3C41F53532A4}"/>
              </a:ext>
            </a:extLst>
          </p:cNvPr>
          <p:cNvSpPr/>
          <p:nvPr/>
        </p:nvSpPr>
        <p:spPr>
          <a:xfrm>
            <a:off x="8135995" y="3429000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074F3C5-E996-4B95-9CB7-E69766DFF93F}"/>
              </a:ext>
            </a:extLst>
          </p:cNvPr>
          <p:cNvSpPr/>
          <p:nvPr/>
        </p:nvSpPr>
        <p:spPr>
          <a:xfrm>
            <a:off x="4684096" y="4853270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9B73B3A-0D6A-4B05-86A3-8CA40AA9E5E7}"/>
              </a:ext>
            </a:extLst>
          </p:cNvPr>
          <p:cNvSpPr/>
          <p:nvPr/>
        </p:nvSpPr>
        <p:spPr>
          <a:xfrm>
            <a:off x="9255040" y="2475009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CD80851-3708-42A8-8491-440C0F1D8A36}"/>
              </a:ext>
            </a:extLst>
          </p:cNvPr>
          <p:cNvSpPr/>
          <p:nvPr/>
        </p:nvSpPr>
        <p:spPr>
          <a:xfrm>
            <a:off x="9255040" y="2150255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71F4C8A-EB4B-40E7-8240-976805266E72}"/>
              </a:ext>
            </a:extLst>
          </p:cNvPr>
          <p:cNvSpPr/>
          <p:nvPr/>
        </p:nvSpPr>
        <p:spPr>
          <a:xfrm>
            <a:off x="9255040" y="1558831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2B64989-78CA-4CEE-9188-FA866BAF5D8A}"/>
              </a:ext>
            </a:extLst>
          </p:cNvPr>
          <p:cNvSpPr/>
          <p:nvPr/>
        </p:nvSpPr>
        <p:spPr>
          <a:xfrm>
            <a:off x="9255040" y="2811845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A18D33A-2A70-4F29-98D9-D4E45ED785C5}"/>
              </a:ext>
            </a:extLst>
          </p:cNvPr>
          <p:cNvSpPr/>
          <p:nvPr/>
        </p:nvSpPr>
        <p:spPr>
          <a:xfrm>
            <a:off x="9255040" y="3152875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E7CDA00-7396-4388-A2EE-9731D3EB0DBF}"/>
              </a:ext>
            </a:extLst>
          </p:cNvPr>
          <p:cNvSpPr/>
          <p:nvPr/>
        </p:nvSpPr>
        <p:spPr>
          <a:xfrm>
            <a:off x="9255040" y="3479247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AD98946-275B-4BE2-B7E8-FA2B44C6F7F5}"/>
              </a:ext>
            </a:extLst>
          </p:cNvPr>
          <p:cNvSpPr/>
          <p:nvPr/>
        </p:nvSpPr>
        <p:spPr>
          <a:xfrm>
            <a:off x="9123028" y="1496819"/>
            <a:ext cx="3068972" cy="2340722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0686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CC33B2-4844-4AAE-ADC1-4ED31D06F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352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308" imgH="305" progId="TCLayout.ActiveDocument.1">
                  <p:embed/>
                </p:oleObj>
              </mc:Choice>
              <mc:Fallback>
                <p:oleObj name="think-cell Slide" r:id="rId5" imgW="308" imgH="30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CC33B2-4844-4AAE-ADC1-4ED31D06F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84DC4D-8045-41A4-A939-D8F755CBF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d Lion Workbench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EAC5CB4B-8EB7-43AF-9125-D339B21296A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>
            <a:normAutofit lnSpcReduction="10000"/>
          </a:bodyPr>
          <a:lstStyle/>
          <a:p>
            <a:pPr indent="-285750"/>
            <a:r>
              <a:rPr lang="en-US" dirty="0">
                <a:solidFill>
                  <a:srgbClr val="AB2228"/>
                </a:solidFill>
              </a:rPr>
              <a:t>Datalogging</a:t>
            </a:r>
          </a:p>
        </p:txBody>
      </p:sp>
      <p:pic>
        <p:nvPicPr>
          <p:cNvPr id="10" name="Content Placeholder 9" descr="Diagram&#10;&#10;Description automatically generated">
            <a:extLst>
              <a:ext uri="{FF2B5EF4-FFF2-40B4-BE49-F238E27FC236}">
                <a16:creationId xmlns:a16="http://schemas.microsoft.com/office/drawing/2014/main" id="{118F9DE2-8000-46A7-8F21-2B0076C74CC7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1185" y="612397"/>
            <a:ext cx="8568052" cy="4874004"/>
          </a:xfrm>
          <a:prstGeom prst="rect">
            <a:avLst/>
          </a:prstGeom>
        </p:spPr>
      </p:pic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215B7CF5-9BEC-41F9-B9F3-0320666DE24D}"/>
              </a:ext>
            </a:extLst>
          </p:cNvPr>
          <p:cNvSpPr txBox="1">
            <a:spLocks/>
          </p:cNvSpPr>
          <p:nvPr/>
        </p:nvSpPr>
        <p:spPr>
          <a:xfrm>
            <a:off x="686562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BB7D014-3B8F-4490-AE24-2E943DC453C8}"/>
              </a:ext>
            </a:extLst>
          </p:cNvPr>
          <p:cNvSpPr/>
          <p:nvPr/>
        </p:nvSpPr>
        <p:spPr>
          <a:xfrm>
            <a:off x="2243127" y="2042104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456F628-130D-4D52-8713-AA7EB258B620}"/>
              </a:ext>
            </a:extLst>
          </p:cNvPr>
          <p:cNvSpPr/>
          <p:nvPr/>
        </p:nvSpPr>
        <p:spPr>
          <a:xfrm>
            <a:off x="5660571" y="2946965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B9D738D-8408-4CC6-9D83-90426F7ED755}"/>
              </a:ext>
            </a:extLst>
          </p:cNvPr>
          <p:cNvSpPr/>
          <p:nvPr/>
        </p:nvSpPr>
        <p:spPr>
          <a:xfrm>
            <a:off x="2818855" y="1167328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7AFFD9F-A20D-4660-A073-E8FE009EF6DB}"/>
              </a:ext>
            </a:extLst>
          </p:cNvPr>
          <p:cNvSpPr/>
          <p:nvPr/>
        </p:nvSpPr>
        <p:spPr>
          <a:xfrm>
            <a:off x="1426137" y="3107307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AB02E82-AE7A-4281-870A-F4922BB9FF6B}"/>
              </a:ext>
            </a:extLst>
          </p:cNvPr>
          <p:cNvSpPr/>
          <p:nvPr/>
        </p:nvSpPr>
        <p:spPr>
          <a:xfrm>
            <a:off x="3749274" y="3355506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BA60F25-2F08-4173-A224-DBAF75CB7170}"/>
              </a:ext>
            </a:extLst>
          </p:cNvPr>
          <p:cNvSpPr/>
          <p:nvPr/>
        </p:nvSpPr>
        <p:spPr>
          <a:xfrm>
            <a:off x="4608595" y="4702269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0771E9E4-9FD4-44D6-9902-48549A31DE47}"/>
              </a:ext>
            </a:extLst>
          </p:cNvPr>
          <p:cNvSpPr txBox="1">
            <a:spLocks/>
          </p:cNvSpPr>
          <p:nvPr/>
        </p:nvSpPr>
        <p:spPr>
          <a:xfrm>
            <a:off x="9024394" y="1663955"/>
            <a:ext cx="3167606" cy="240075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Select the timestamp format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Use the Log File function block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Define log trigg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Create log records with </a:t>
            </a:r>
            <a:r>
              <a:rPr lang="en-US" sz="1800" dirty="0" err="1"/>
              <a:t>spylists</a:t>
            </a:r>
            <a:endParaRPr lang="en-US" sz="1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Log to RTU directory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Log all data types including messages and tim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8E67E49-6F55-4888-A5A6-2CD373A05F06}"/>
              </a:ext>
            </a:extLst>
          </p:cNvPr>
          <p:cNvSpPr/>
          <p:nvPr/>
        </p:nvSpPr>
        <p:spPr>
          <a:xfrm>
            <a:off x="8808264" y="2642145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197B447-DA1B-4292-8D1F-268988EAA46D}"/>
              </a:ext>
            </a:extLst>
          </p:cNvPr>
          <p:cNvSpPr/>
          <p:nvPr/>
        </p:nvSpPr>
        <p:spPr>
          <a:xfrm>
            <a:off x="8808264" y="2044756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EB4D107-3B57-4CFB-995A-25FF9C40665D}"/>
              </a:ext>
            </a:extLst>
          </p:cNvPr>
          <p:cNvSpPr/>
          <p:nvPr/>
        </p:nvSpPr>
        <p:spPr>
          <a:xfrm>
            <a:off x="8808264" y="1725967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E487653-7717-4F91-9258-B348C97CF4B7}"/>
              </a:ext>
            </a:extLst>
          </p:cNvPr>
          <p:cNvSpPr/>
          <p:nvPr/>
        </p:nvSpPr>
        <p:spPr>
          <a:xfrm>
            <a:off x="8808264" y="2978981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4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619653B-ADD1-42DB-A418-2221D320D8B5}"/>
              </a:ext>
            </a:extLst>
          </p:cNvPr>
          <p:cNvSpPr/>
          <p:nvPr/>
        </p:nvSpPr>
        <p:spPr>
          <a:xfrm>
            <a:off x="8808264" y="3601033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D2CA568-8807-433C-8912-1DE752C1B5FB}"/>
              </a:ext>
            </a:extLst>
          </p:cNvPr>
          <p:cNvSpPr/>
          <p:nvPr/>
        </p:nvSpPr>
        <p:spPr>
          <a:xfrm>
            <a:off x="8808264" y="3914817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6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DF6E97E-840A-444D-A28C-FE7405BC0680}"/>
              </a:ext>
            </a:extLst>
          </p:cNvPr>
          <p:cNvSpPr/>
          <p:nvPr/>
        </p:nvSpPr>
        <p:spPr>
          <a:xfrm>
            <a:off x="8676252" y="1663954"/>
            <a:ext cx="3515748" cy="2874489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3168C30-2ACB-425D-B2AD-7F9F4BC94652}"/>
              </a:ext>
            </a:extLst>
          </p:cNvPr>
          <p:cNvSpPr/>
          <p:nvPr/>
        </p:nvSpPr>
        <p:spPr>
          <a:xfrm>
            <a:off x="5571241" y="301658"/>
            <a:ext cx="2592371" cy="14243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4468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CC33B2-4844-4AAE-ADC1-4ED31D06F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842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308" imgH="305" progId="TCLayout.ActiveDocument.1">
                  <p:embed/>
                </p:oleObj>
              </mc:Choice>
              <mc:Fallback>
                <p:oleObj name="think-cell Slide" r:id="rId5" imgW="308" imgH="30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CC33B2-4844-4AAE-ADC1-4ED31D06F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88F58F4-94FC-4D78-B31B-C85362543A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d Lion Workbench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EAC5CB4B-8EB7-43AF-9125-D339B21296A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>
            <a:normAutofit lnSpcReduction="10000"/>
          </a:bodyPr>
          <a:lstStyle/>
          <a:p>
            <a:pPr indent="-285750"/>
            <a:r>
              <a:rPr lang="en-US" dirty="0">
                <a:solidFill>
                  <a:srgbClr val="AB2228"/>
                </a:solidFill>
              </a:rPr>
              <a:t>Fieldbus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118F9DE2-8000-46A7-8F21-2B0076C74CC7}"/>
              </a:ext>
            </a:extLst>
          </p:cNvPr>
          <p:cNvPicPr>
            <a:picLocks noGrp="1" noChangeAspect="1"/>
          </p:cNvPicPr>
          <p:nvPr>
            <p:ph sz="quarter" idx="429496729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4951" y="189817"/>
            <a:ext cx="10130866" cy="5388023"/>
          </a:xfrm>
          <a:prstGeom prst="rect">
            <a:avLst/>
          </a:prstGeom>
        </p:spPr>
      </p:pic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215B7CF5-9BEC-41F9-B9F3-0320666DE24D}"/>
              </a:ext>
            </a:extLst>
          </p:cNvPr>
          <p:cNvSpPr txBox="1">
            <a:spLocks/>
          </p:cNvSpPr>
          <p:nvPr/>
        </p:nvSpPr>
        <p:spPr>
          <a:xfrm>
            <a:off x="686562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C181C5D-CE69-423A-8D90-86A610054B26}"/>
              </a:ext>
            </a:extLst>
          </p:cNvPr>
          <p:cNvSpPr/>
          <p:nvPr/>
        </p:nvSpPr>
        <p:spPr>
          <a:xfrm>
            <a:off x="99605" y="141119"/>
            <a:ext cx="2903654" cy="2732109"/>
          </a:xfrm>
          <a:prstGeom prst="rect">
            <a:avLst/>
          </a:prstGeom>
          <a:noFill/>
          <a:ln w="666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58855E98-74BB-443B-B9F6-64833D84B7BF}"/>
              </a:ext>
            </a:extLst>
          </p:cNvPr>
          <p:cNvSpPr/>
          <p:nvPr/>
        </p:nvSpPr>
        <p:spPr>
          <a:xfrm>
            <a:off x="3036569" y="1079953"/>
            <a:ext cx="4129231" cy="8544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ADA9F18-2B7C-4773-AA9B-21CEAAEE233C}"/>
              </a:ext>
            </a:extLst>
          </p:cNvPr>
          <p:cNvSpPr/>
          <p:nvPr/>
        </p:nvSpPr>
        <p:spPr>
          <a:xfrm>
            <a:off x="7204710" y="189816"/>
            <a:ext cx="2392296" cy="2732109"/>
          </a:xfrm>
          <a:prstGeom prst="rect">
            <a:avLst/>
          </a:prstGeom>
          <a:noFill/>
          <a:ln w="666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3976FD5-5FDC-4094-9EDF-775B22567C9B}"/>
              </a:ext>
            </a:extLst>
          </p:cNvPr>
          <p:cNvSpPr/>
          <p:nvPr/>
        </p:nvSpPr>
        <p:spPr>
          <a:xfrm>
            <a:off x="8888977" y="671117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31957DF-89C2-4EF2-ADBF-5695F7845E2A}"/>
              </a:ext>
            </a:extLst>
          </p:cNvPr>
          <p:cNvSpPr/>
          <p:nvPr/>
        </p:nvSpPr>
        <p:spPr>
          <a:xfrm>
            <a:off x="1441705" y="466847"/>
            <a:ext cx="435429" cy="408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BBD76345-83DD-4AA5-B2C9-8750636DF9F7}"/>
              </a:ext>
            </a:extLst>
          </p:cNvPr>
          <p:cNvSpPr txBox="1">
            <a:spLocks/>
          </p:cNvSpPr>
          <p:nvPr/>
        </p:nvSpPr>
        <p:spPr>
          <a:xfrm>
            <a:off x="10017367" y="1752025"/>
            <a:ext cx="2243449" cy="240075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Configure slave device and registers to read/writ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/>
              <a:t>Variables for program are automatically create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7609131-3F8A-42A3-A572-AFA0392BEE2D}"/>
              </a:ext>
            </a:extLst>
          </p:cNvPr>
          <p:cNvSpPr/>
          <p:nvPr/>
        </p:nvSpPr>
        <p:spPr>
          <a:xfrm>
            <a:off x="9800412" y="2697773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2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7C724B1-BE3E-47C3-B079-DCFF9E63C2D4}"/>
              </a:ext>
            </a:extLst>
          </p:cNvPr>
          <p:cNvSpPr/>
          <p:nvPr/>
        </p:nvSpPr>
        <p:spPr>
          <a:xfrm>
            <a:off x="9801237" y="1814037"/>
            <a:ext cx="283029" cy="2655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E4521E-20AC-4197-A791-C8E54BE2DA61}"/>
              </a:ext>
            </a:extLst>
          </p:cNvPr>
          <p:cNvSpPr/>
          <p:nvPr/>
        </p:nvSpPr>
        <p:spPr>
          <a:xfrm>
            <a:off x="9669225" y="1752025"/>
            <a:ext cx="2522775" cy="2052370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8346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0961E1-1CF0-4014-AA4B-0937158B0C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2800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4" imgW="411" imgH="381" progId="TCLayout.ActiveDocument.1">
                  <p:embed/>
                </p:oleObj>
              </mc:Choice>
              <mc:Fallback>
                <p:oleObj name="think-cell Slide" r:id="rId4" imgW="411" imgH="38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0961E1-1CF0-4014-AA4B-0937158B0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DF48339-5257-4F79-A58D-E697785DF5C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76300" y="185988"/>
            <a:ext cx="5935836" cy="395722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2E30A8B-01E9-4839-AFE0-67A610628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052" y="5780253"/>
            <a:ext cx="9873986" cy="576072"/>
          </a:xfrm>
        </p:spPr>
        <p:txBody>
          <a:bodyPr vert="horz"/>
          <a:lstStyle/>
          <a:p>
            <a:r>
              <a:rPr lang="en-US" dirty="0"/>
              <a:t>ST-IPm-8460, EtherTRAK-2 I/O, Graphit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78F7B3-3F40-4BBF-8DB7-DDA3254DA8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Gas Compression Operation</a:t>
            </a: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20814464-EBEB-463D-9BF3-1455ED8DE5EE}"/>
              </a:ext>
            </a:extLst>
          </p:cNvPr>
          <p:cNvGrpSpPr/>
          <p:nvPr/>
        </p:nvGrpSpPr>
        <p:grpSpPr>
          <a:xfrm>
            <a:off x="90078" y="650542"/>
            <a:ext cx="10242189" cy="4517411"/>
            <a:chOff x="90078" y="650542"/>
            <a:chExt cx="10242189" cy="4517411"/>
          </a:xfrm>
        </p:grpSpPr>
        <p:pic>
          <p:nvPicPr>
            <p:cNvPr id="27" name="Content Placeholder 9" descr="A picture containing graphical user interface&#10;&#10;Description automatically generated">
              <a:extLst>
                <a:ext uri="{FF2B5EF4-FFF2-40B4-BE49-F238E27FC236}">
                  <a16:creationId xmlns:a16="http://schemas.microsoft.com/office/drawing/2014/main" id="{2D48842D-114A-4E50-8D02-64EC5E5B5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078" y="3527709"/>
              <a:ext cx="1941350" cy="1268087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524B778-C153-4BA4-A5F7-E6C7B4FE2F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047" t="11837" r="26978" b="11837"/>
            <a:stretch/>
          </p:blipFill>
          <p:spPr>
            <a:xfrm>
              <a:off x="2737881" y="3527709"/>
              <a:ext cx="763836" cy="1268087"/>
            </a:xfrm>
            <a:prstGeom prst="rect">
              <a:avLst/>
            </a:prstGeom>
          </p:spPr>
        </p:pic>
        <p:pic>
          <p:nvPicPr>
            <p:cNvPr id="9" name="Picture 8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FA04D4B6-E022-41EB-B498-A171BAA4CD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>
                          <a14:foregroundMark x1="20667" y1="15778" x2="21667" y2="22889"/>
                          <a14:foregroundMark x1="21000" y1="23111" x2="21000" y2="38222"/>
                          <a14:foregroundMark x1="20333" y1="38000" x2="20667" y2="46000"/>
                          <a14:foregroundMark x1="21000" y1="47333" x2="21667" y2="70444"/>
                          <a14:foregroundMark x1="21667" y1="70444" x2="22333" y2="71556"/>
                          <a14:foregroundMark x1="40333" y1="52889" x2="39333" y2="20667"/>
                          <a14:foregroundMark x1="39000" y1="18222" x2="38333" y2="14222"/>
                          <a14:foregroundMark x1="38000" y1="13556" x2="37667" y2="13556"/>
                          <a14:foregroundMark x1="39667" y1="13778" x2="40333" y2="13556"/>
                          <a14:foregroundMark x1="38333" y1="14667" x2="21000" y2="14444"/>
                          <a14:foregroundMark x1="36667" y1="14222" x2="33333" y2="13778"/>
                          <a14:foregroundMark x1="21333" y1="13778" x2="20000" y2="13333"/>
                          <a14:foregroundMark x1="42333" y1="18444" x2="46000" y2="18667"/>
                          <a14:foregroundMark x1="47333" y1="18444" x2="69000" y2="18889"/>
                          <a14:foregroundMark x1="65333" y1="18889" x2="71000" y2="18667"/>
                          <a14:foregroundMark x1="61667" y1="18667" x2="67667" y2="18667"/>
                          <a14:foregroundMark x1="61667" y1="18222" x2="64667" y2="18222"/>
                          <a14:foregroundMark x1="71667" y1="18222" x2="81000" y2="18667"/>
                          <a14:foregroundMark x1="41667" y1="17778" x2="63333" y2="18444"/>
                          <a14:foregroundMark x1="83000" y1="20000" x2="83000" y2="27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69" t="12246" r="15567" b="12395"/>
            <a:stretch/>
          </p:blipFill>
          <p:spPr>
            <a:xfrm>
              <a:off x="5980835" y="3345455"/>
              <a:ext cx="936434" cy="1597446"/>
            </a:xfrm>
            <a:prstGeom prst="rect">
              <a:avLst/>
            </a:prstGeom>
          </p:spPr>
        </p:pic>
        <p:pic>
          <p:nvPicPr>
            <p:cNvPr id="19" name="Picture 18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B2B5CAC3-2F6B-4DF7-B04C-B3B7A55537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>
                          <a14:foregroundMark x1="20667" y1="15778" x2="21667" y2="22889"/>
                          <a14:foregroundMark x1="21000" y1="23111" x2="21000" y2="38222"/>
                          <a14:foregroundMark x1="20333" y1="38000" x2="20667" y2="46000"/>
                          <a14:foregroundMark x1="21000" y1="47333" x2="21667" y2="70444"/>
                          <a14:foregroundMark x1="21667" y1="70444" x2="22333" y2="71556"/>
                          <a14:foregroundMark x1="40333" y1="52889" x2="39333" y2="20667"/>
                          <a14:foregroundMark x1="39000" y1="18222" x2="38333" y2="14222"/>
                          <a14:foregroundMark x1="38000" y1="13556" x2="37667" y2="13556"/>
                          <a14:foregroundMark x1="39667" y1="13778" x2="40333" y2="13556"/>
                          <a14:foregroundMark x1="38333" y1="14667" x2="21000" y2="14444"/>
                          <a14:foregroundMark x1="36667" y1="14222" x2="33333" y2="13778"/>
                          <a14:foregroundMark x1="21333" y1="13778" x2="20000" y2="13333"/>
                          <a14:foregroundMark x1="42333" y1="18444" x2="46000" y2="18667"/>
                          <a14:foregroundMark x1="47333" y1="18444" x2="69000" y2="18889"/>
                          <a14:foregroundMark x1="65333" y1="18889" x2="71000" y2="18667"/>
                          <a14:foregroundMark x1="61667" y1="18667" x2="67667" y2="18667"/>
                          <a14:foregroundMark x1="61667" y1="18222" x2="64667" y2="18222"/>
                          <a14:foregroundMark x1="71667" y1="18222" x2="81000" y2="18667"/>
                          <a14:foregroundMark x1="41667" y1="17778" x2="63333" y2="18444"/>
                          <a14:foregroundMark x1="83000" y1="20000" x2="83000" y2="27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69" t="12246" r="15567" b="12395"/>
            <a:stretch/>
          </p:blipFill>
          <p:spPr>
            <a:xfrm>
              <a:off x="6985157" y="3345455"/>
              <a:ext cx="936434" cy="1597446"/>
            </a:xfrm>
            <a:prstGeom prst="rect">
              <a:avLst/>
            </a:prstGeom>
          </p:spPr>
        </p:pic>
        <p:pic>
          <p:nvPicPr>
            <p:cNvPr id="20" name="Picture 19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8C6B5DA7-E615-433B-B016-323D80B7D3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>
                          <a14:foregroundMark x1="20667" y1="15778" x2="21667" y2="22889"/>
                          <a14:foregroundMark x1="21000" y1="23111" x2="21000" y2="38222"/>
                          <a14:foregroundMark x1="20333" y1="38000" x2="20667" y2="46000"/>
                          <a14:foregroundMark x1="21000" y1="47333" x2="21667" y2="70444"/>
                          <a14:foregroundMark x1="21667" y1="70444" x2="22333" y2="71556"/>
                          <a14:foregroundMark x1="40333" y1="52889" x2="39333" y2="20667"/>
                          <a14:foregroundMark x1="39000" y1="18222" x2="38333" y2="14222"/>
                          <a14:foregroundMark x1="38000" y1="13556" x2="37667" y2="13556"/>
                          <a14:foregroundMark x1="39667" y1="13778" x2="40333" y2="13556"/>
                          <a14:foregroundMark x1="38333" y1="14667" x2="21000" y2="14444"/>
                          <a14:foregroundMark x1="36667" y1="14222" x2="33333" y2="13778"/>
                          <a14:foregroundMark x1="21333" y1="13778" x2="20000" y2="13333"/>
                          <a14:foregroundMark x1="42333" y1="18444" x2="46000" y2="18667"/>
                          <a14:foregroundMark x1="47333" y1="18444" x2="69000" y2="18889"/>
                          <a14:foregroundMark x1="65333" y1="18889" x2="71000" y2="18667"/>
                          <a14:foregroundMark x1="61667" y1="18667" x2="67667" y2="18667"/>
                          <a14:foregroundMark x1="61667" y1="18222" x2="64667" y2="18222"/>
                          <a14:foregroundMark x1="71667" y1="18222" x2="81000" y2="18667"/>
                          <a14:foregroundMark x1="41667" y1="17778" x2="63333" y2="18444"/>
                          <a14:foregroundMark x1="83000" y1="20000" x2="83000" y2="27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69" t="12246" r="15567" b="12395"/>
            <a:stretch/>
          </p:blipFill>
          <p:spPr>
            <a:xfrm>
              <a:off x="7989479" y="3345455"/>
              <a:ext cx="936434" cy="1597446"/>
            </a:xfrm>
            <a:prstGeom prst="rect">
              <a:avLst/>
            </a:prstGeom>
          </p:spPr>
        </p:pic>
        <p:pic>
          <p:nvPicPr>
            <p:cNvPr id="21" name="Picture 20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3DA1F687-25E4-4379-918B-1FE72EA09C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>
                          <a14:foregroundMark x1="20667" y1="15778" x2="21667" y2="22889"/>
                          <a14:foregroundMark x1="21000" y1="23111" x2="21000" y2="38222"/>
                          <a14:foregroundMark x1="20333" y1="38000" x2="20667" y2="46000"/>
                          <a14:foregroundMark x1="21000" y1="47333" x2="21667" y2="70444"/>
                          <a14:foregroundMark x1="21667" y1="70444" x2="22333" y2="71556"/>
                          <a14:foregroundMark x1="40333" y1="52889" x2="39333" y2="20667"/>
                          <a14:foregroundMark x1="39000" y1="18222" x2="38333" y2="14222"/>
                          <a14:foregroundMark x1="38000" y1="13556" x2="37667" y2="13556"/>
                          <a14:foregroundMark x1="39667" y1="13778" x2="40333" y2="13556"/>
                          <a14:foregroundMark x1="38333" y1="14667" x2="21000" y2="14444"/>
                          <a14:foregroundMark x1="36667" y1="14222" x2="33333" y2="13778"/>
                          <a14:foregroundMark x1="21333" y1="13778" x2="20000" y2="13333"/>
                          <a14:foregroundMark x1="42333" y1="18444" x2="46000" y2="18667"/>
                          <a14:foregroundMark x1="47333" y1="18444" x2="69000" y2="18889"/>
                          <a14:foregroundMark x1="65333" y1="18889" x2="71000" y2="18667"/>
                          <a14:foregroundMark x1="61667" y1="18667" x2="67667" y2="18667"/>
                          <a14:foregroundMark x1="61667" y1="18222" x2="64667" y2="18222"/>
                          <a14:foregroundMark x1="71667" y1="18222" x2="81000" y2="18667"/>
                          <a14:foregroundMark x1="41667" y1="17778" x2="63333" y2="18444"/>
                          <a14:foregroundMark x1="83000" y1="20000" x2="83000" y2="27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69" t="12246" r="15567" b="12395"/>
            <a:stretch/>
          </p:blipFill>
          <p:spPr>
            <a:xfrm>
              <a:off x="9020715" y="3345455"/>
              <a:ext cx="936434" cy="1597446"/>
            </a:xfrm>
            <a:prstGeom prst="rect">
              <a:avLst/>
            </a:prstGeom>
          </p:spPr>
        </p:pic>
        <p:pic>
          <p:nvPicPr>
            <p:cNvPr id="16" name="Picture 15" descr="A circuit board&#10;&#10;Description automatically generated">
              <a:extLst>
                <a:ext uri="{FF2B5EF4-FFF2-40B4-BE49-F238E27FC236}">
                  <a16:creationId xmlns:a16="http://schemas.microsoft.com/office/drawing/2014/main" id="{F50FF4AF-7AEC-4858-A9B5-385F000AF3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023" t="14260" r="34944" b="30053"/>
            <a:stretch/>
          </p:blipFill>
          <p:spPr>
            <a:xfrm>
              <a:off x="1765111" y="650542"/>
              <a:ext cx="2543033" cy="2150985"/>
            </a:xfrm>
            <a:prstGeom prst="rect">
              <a:avLst/>
            </a:prstGeom>
          </p:spPr>
        </p:pic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41CA2B4-91FD-4F5E-8044-69877EF03A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965279" y="4567451"/>
              <a:ext cx="905300" cy="0"/>
            </a:xfrm>
            <a:prstGeom prst="line">
              <a:avLst/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912EB264-2390-4950-9DF0-C1198B3CD6FC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1621809" y="3186752"/>
              <a:ext cx="1960728" cy="536812"/>
            </a:xfrm>
            <a:prstGeom prst="bentConnector3">
              <a:avLst>
                <a:gd name="adj1" fmla="val -116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DE380609-4AB2-4A3F-8FEE-B0D2A6EE190C}"/>
                </a:ext>
              </a:extLst>
            </p:cNvPr>
            <p:cNvCxnSpPr>
              <a:cxnSpLocks/>
              <a:endCxn id="55" idx="0"/>
            </p:cNvCxnSpPr>
            <p:nvPr/>
          </p:nvCxnSpPr>
          <p:spPr>
            <a:xfrm flipV="1">
              <a:off x="2833224" y="3573436"/>
              <a:ext cx="3602761" cy="370772"/>
            </a:xfrm>
            <a:prstGeom prst="bentConnector5">
              <a:avLst>
                <a:gd name="adj1" fmla="val 49954"/>
                <a:gd name="adj2" fmla="val 164722"/>
                <a:gd name="adj3" fmla="val 100031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8515C8F1-8900-4F8C-8361-AF085DC0EEEB}"/>
                </a:ext>
              </a:extLst>
            </p:cNvPr>
            <p:cNvCxnSpPr>
              <a:cxnSpLocks/>
            </p:cNvCxnSpPr>
            <p:nvPr/>
          </p:nvCxnSpPr>
          <p:spPr>
            <a:xfrm>
              <a:off x="7447613" y="3573438"/>
              <a:ext cx="179211" cy="0"/>
            </a:xfrm>
            <a:prstGeom prst="line">
              <a:avLst/>
            </a:prstGeom>
            <a:ln>
              <a:solidFill>
                <a:schemeClr val="accent1">
                  <a:shade val="95000"/>
                  <a:satMod val="105000"/>
                  <a:alpha val="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E29127F7-0EF8-469C-B8F2-7937E68B9749}"/>
                </a:ext>
              </a:extLst>
            </p:cNvPr>
            <p:cNvCxnSpPr>
              <a:cxnSpLocks/>
            </p:cNvCxnSpPr>
            <p:nvPr/>
          </p:nvCxnSpPr>
          <p:spPr>
            <a:xfrm>
              <a:off x="8439352" y="3573438"/>
              <a:ext cx="179211" cy="0"/>
            </a:xfrm>
            <a:prstGeom prst="line">
              <a:avLst/>
            </a:prstGeom>
            <a:ln>
              <a:solidFill>
                <a:schemeClr val="accent1">
                  <a:shade val="95000"/>
                  <a:satMod val="105000"/>
                  <a:alpha val="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1EE8E8E7-4C85-4CAB-90B2-22425FDEFADF}"/>
                </a:ext>
              </a:extLst>
            </p:cNvPr>
            <p:cNvCxnSpPr>
              <a:cxnSpLocks/>
            </p:cNvCxnSpPr>
            <p:nvPr/>
          </p:nvCxnSpPr>
          <p:spPr>
            <a:xfrm>
              <a:off x="9476581" y="3566614"/>
              <a:ext cx="179211" cy="0"/>
            </a:xfrm>
            <a:prstGeom prst="line">
              <a:avLst/>
            </a:prstGeom>
            <a:ln>
              <a:solidFill>
                <a:schemeClr val="accent1">
                  <a:shade val="95000"/>
                  <a:satMod val="105000"/>
                  <a:alpha val="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54390C3-C142-4AFB-B0AC-370278F27646}"/>
                </a:ext>
              </a:extLst>
            </p:cNvPr>
            <p:cNvSpPr/>
            <p:nvPr/>
          </p:nvSpPr>
          <p:spPr>
            <a:xfrm>
              <a:off x="6432645" y="3562065"/>
              <a:ext cx="3223147" cy="587443"/>
            </a:xfrm>
            <a:custGeom>
              <a:avLst/>
              <a:gdLst>
                <a:gd name="connsiteX0" fmla="*/ 0 w 3219807"/>
                <a:gd name="connsiteY0" fmla="*/ 0 h 576072"/>
                <a:gd name="connsiteX1" fmla="*/ 3219807 w 3219807"/>
                <a:gd name="connsiteY1" fmla="*/ 0 h 576072"/>
                <a:gd name="connsiteX2" fmla="*/ 3219807 w 3219807"/>
                <a:gd name="connsiteY2" fmla="*/ 576072 h 576072"/>
                <a:gd name="connsiteX3" fmla="*/ 0 w 3219807"/>
                <a:gd name="connsiteY3" fmla="*/ 576072 h 576072"/>
                <a:gd name="connsiteX4" fmla="*/ 0 w 3219807"/>
                <a:gd name="connsiteY4" fmla="*/ 0 h 576072"/>
                <a:gd name="connsiteX0" fmla="*/ 3340 w 3223147"/>
                <a:gd name="connsiteY0" fmla="*/ 6822 h 582894"/>
                <a:gd name="connsiteX1" fmla="*/ 0 w 3223147"/>
                <a:gd name="connsiteY1" fmla="*/ 0 h 582894"/>
                <a:gd name="connsiteX2" fmla="*/ 3223147 w 3223147"/>
                <a:gd name="connsiteY2" fmla="*/ 6822 h 582894"/>
                <a:gd name="connsiteX3" fmla="*/ 3223147 w 3223147"/>
                <a:gd name="connsiteY3" fmla="*/ 582894 h 582894"/>
                <a:gd name="connsiteX4" fmla="*/ 3340 w 3223147"/>
                <a:gd name="connsiteY4" fmla="*/ 582894 h 582894"/>
                <a:gd name="connsiteX5" fmla="*/ 3340 w 3223147"/>
                <a:gd name="connsiteY5" fmla="*/ 6822 h 582894"/>
                <a:gd name="connsiteX0" fmla="*/ 3340 w 3223147"/>
                <a:gd name="connsiteY0" fmla="*/ 6822 h 582894"/>
                <a:gd name="connsiteX1" fmla="*/ 0 w 3223147"/>
                <a:gd name="connsiteY1" fmla="*/ 0 h 582894"/>
                <a:gd name="connsiteX2" fmla="*/ 191068 w 3223147"/>
                <a:gd name="connsiteY2" fmla="*/ 0 h 582894"/>
                <a:gd name="connsiteX3" fmla="*/ 3223147 w 3223147"/>
                <a:gd name="connsiteY3" fmla="*/ 6822 h 582894"/>
                <a:gd name="connsiteX4" fmla="*/ 3223147 w 3223147"/>
                <a:gd name="connsiteY4" fmla="*/ 582894 h 582894"/>
                <a:gd name="connsiteX5" fmla="*/ 3340 w 3223147"/>
                <a:gd name="connsiteY5" fmla="*/ 582894 h 582894"/>
                <a:gd name="connsiteX6" fmla="*/ 3340 w 3223147"/>
                <a:gd name="connsiteY6" fmla="*/ 6822 h 582894"/>
                <a:gd name="connsiteX0" fmla="*/ 3340 w 3223147"/>
                <a:gd name="connsiteY0" fmla="*/ 11371 h 587443"/>
                <a:gd name="connsiteX1" fmla="*/ 0 w 3223147"/>
                <a:gd name="connsiteY1" fmla="*/ 4549 h 587443"/>
                <a:gd name="connsiteX2" fmla="*/ 191068 w 3223147"/>
                <a:gd name="connsiteY2" fmla="*/ 4549 h 587443"/>
                <a:gd name="connsiteX3" fmla="*/ 3223147 w 3223147"/>
                <a:gd name="connsiteY3" fmla="*/ 11371 h 587443"/>
                <a:gd name="connsiteX4" fmla="*/ 1201003 w 3223147"/>
                <a:gd name="connsiteY4" fmla="*/ 0 h 587443"/>
                <a:gd name="connsiteX5" fmla="*/ 3223147 w 3223147"/>
                <a:gd name="connsiteY5" fmla="*/ 587443 h 587443"/>
                <a:gd name="connsiteX6" fmla="*/ 3340 w 3223147"/>
                <a:gd name="connsiteY6" fmla="*/ 587443 h 587443"/>
                <a:gd name="connsiteX7" fmla="*/ 3340 w 3223147"/>
                <a:gd name="connsiteY7" fmla="*/ 11371 h 587443"/>
                <a:gd name="connsiteX0" fmla="*/ 3340 w 3223147"/>
                <a:gd name="connsiteY0" fmla="*/ 11371 h 587443"/>
                <a:gd name="connsiteX1" fmla="*/ 0 w 3223147"/>
                <a:gd name="connsiteY1" fmla="*/ 4549 h 587443"/>
                <a:gd name="connsiteX2" fmla="*/ 191068 w 3223147"/>
                <a:gd name="connsiteY2" fmla="*/ 4549 h 587443"/>
                <a:gd name="connsiteX3" fmla="*/ 1000836 w 3223147"/>
                <a:gd name="connsiteY3" fmla="*/ 4550 h 587443"/>
                <a:gd name="connsiteX4" fmla="*/ 3223147 w 3223147"/>
                <a:gd name="connsiteY4" fmla="*/ 11371 h 587443"/>
                <a:gd name="connsiteX5" fmla="*/ 1201003 w 3223147"/>
                <a:gd name="connsiteY5" fmla="*/ 0 h 587443"/>
                <a:gd name="connsiteX6" fmla="*/ 3223147 w 3223147"/>
                <a:gd name="connsiteY6" fmla="*/ 587443 h 587443"/>
                <a:gd name="connsiteX7" fmla="*/ 3340 w 3223147"/>
                <a:gd name="connsiteY7" fmla="*/ 587443 h 587443"/>
                <a:gd name="connsiteX8" fmla="*/ 3340 w 3223147"/>
                <a:gd name="connsiteY8" fmla="*/ 11371 h 587443"/>
                <a:gd name="connsiteX0" fmla="*/ 3340 w 3223147"/>
                <a:gd name="connsiteY0" fmla="*/ 11371 h 587443"/>
                <a:gd name="connsiteX1" fmla="*/ 0 w 3223147"/>
                <a:gd name="connsiteY1" fmla="*/ 4549 h 587443"/>
                <a:gd name="connsiteX2" fmla="*/ 191068 w 3223147"/>
                <a:gd name="connsiteY2" fmla="*/ 4549 h 587443"/>
                <a:gd name="connsiteX3" fmla="*/ 1000836 w 3223147"/>
                <a:gd name="connsiteY3" fmla="*/ 4550 h 587443"/>
                <a:gd name="connsiteX4" fmla="*/ 3223147 w 3223147"/>
                <a:gd name="connsiteY4" fmla="*/ 11371 h 587443"/>
                <a:gd name="connsiteX5" fmla="*/ 1742364 w 3223147"/>
                <a:gd name="connsiteY5" fmla="*/ 1 h 587443"/>
                <a:gd name="connsiteX6" fmla="*/ 1201003 w 3223147"/>
                <a:gd name="connsiteY6" fmla="*/ 0 h 587443"/>
                <a:gd name="connsiteX7" fmla="*/ 3223147 w 3223147"/>
                <a:gd name="connsiteY7" fmla="*/ 587443 h 587443"/>
                <a:gd name="connsiteX8" fmla="*/ 3340 w 3223147"/>
                <a:gd name="connsiteY8" fmla="*/ 587443 h 587443"/>
                <a:gd name="connsiteX9" fmla="*/ 3340 w 3223147"/>
                <a:gd name="connsiteY9" fmla="*/ 11371 h 587443"/>
                <a:gd name="connsiteX0" fmla="*/ 3340 w 3223147"/>
                <a:gd name="connsiteY0" fmla="*/ 11371 h 587443"/>
                <a:gd name="connsiteX1" fmla="*/ 0 w 3223147"/>
                <a:gd name="connsiteY1" fmla="*/ 4549 h 587443"/>
                <a:gd name="connsiteX2" fmla="*/ 191068 w 3223147"/>
                <a:gd name="connsiteY2" fmla="*/ 4549 h 587443"/>
                <a:gd name="connsiteX3" fmla="*/ 1000836 w 3223147"/>
                <a:gd name="connsiteY3" fmla="*/ 4550 h 587443"/>
                <a:gd name="connsiteX4" fmla="*/ 3223147 w 3223147"/>
                <a:gd name="connsiteY4" fmla="*/ 11371 h 587443"/>
                <a:gd name="connsiteX5" fmla="*/ 2192740 w 3223147"/>
                <a:gd name="connsiteY5" fmla="*/ 4550 h 587443"/>
                <a:gd name="connsiteX6" fmla="*/ 1742364 w 3223147"/>
                <a:gd name="connsiteY6" fmla="*/ 1 h 587443"/>
                <a:gd name="connsiteX7" fmla="*/ 1201003 w 3223147"/>
                <a:gd name="connsiteY7" fmla="*/ 0 h 587443"/>
                <a:gd name="connsiteX8" fmla="*/ 3223147 w 3223147"/>
                <a:gd name="connsiteY8" fmla="*/ 587443 h 587443"/>
                <a:gd name="connsiteX9" fmla="*/ 3340 w 3223147"/>
                <a:gd name="connsiteY9" fmla="*/ 587443 h 587443"/>
                <a:gd name="connsiteX10" fmla="*/ 3340 w 3223147"/>
                <a:gd name="connsiteY10" fmla="*/ 11371 h 587443"/>
                <a:gd name="connsiteX0" fmla="*/ 3340 w 3223147"/>
                <a:gd name="connsiteY0" fmla="*/ 11371 h 587443"/>
                <a:gd name="connsiteX1" fmla="*/ 0 w 3223147"/>
                <a:gd name="connsiteY1" fmla="*/ 4549 h 587443"/>
                <a:gd name="connsiteX2" fmla="*/ 191068 w 3223147"/>
                <a:gd name="connsiteY2" fmla="*/ 4549 h 587443"/>
                <a:gd name="connsiteX3" fmla="*/ 1000836 w 3223147"/>
                <a:gd name="connsiteY3" fmla="*/ 4550 h 587443"/>
                <a:gd name="connsiteX4" fmla="*/ 3223147 w 3223147"/>
                <a:gd name="connsiteY4" fmla="*/ 11371 h 587443"/>
                <a:gd name="connsiteX5" fmla="*/ 2192740 w 3223147"/>
                <a:gd name="connsiteY5" fmla="*/ 4550 h 587443"/>
                <a:gd name="connsiteX6" fmla="*/ 1742364 w 3223147"/>
                <a:gd name="connsiteY6" fmla="*/ 1 h 587443"/>
                <a:gd name="connsiteX7" fmla="*/ 1201003 w 3223147"/>
                <a:gd name="connsiteY7" fmla="*/ 0 h 587443"/>
                <a:gd name="connsiteX8" fmla="*/ 3223147 w 3223147"/>
                <a:gd name="connsiteY8" fmla="*/ 587443 h 587443"/>
                <a:gd name="connsiteX9" fmla="*/ 3340 w 3223147"/>
                <a:gd name="connsiteY9" fmla="*/ 587443 h 587443"/>
                <a:gd name="connsiteX10" fmla="*/ 3340 w 3223147"/>
                <a:gd name="connsiteY10" fmla="*/ 11371 h 587443"/>
                <a:gd name="connsiteX0" fmla="*/ 3340 w 3223147"/>
                <a:gd name="connsiteY0" fmla="*/ 11371 h 587443"/>
                <a:gd name="connsiteX1" fmla="*/ 0 w 3223147"/>
                <a:gd name="connsiteY1" fmla="*/ 4549 h 587443"/>
                <a:gd name="connsiteX2" fmla="*/ 191068 w 3223147"/>
                <a:gd name="connsiteY2" fmla="*/ 4549 h 587443"/>
                <a:gd name="connsiteX3" fmla="*/ 1000836 w 3223147"/>
                <a:gd name="connsiteY3" fmla="*/ 4550 h 587443"/>
                <a:gd name="connsiteX4" fmla="*/ 3223147 w 3223147"/>
                <a:gd name="connsiteY4" fmla="*/ 11371 h 587443"/>
                <a:gd name="connsiteX5" fmla="*/ 3043451 w 3223147"/>
                <a:gd name="connsiteY5" fmla="*/ 9099 h 587443"/>
                <a:gd name="connsiteX6" fmla="*/ 2192740 w 3223147"/>
                <a:gd name="connsiteY6" fmla="*/ 4550 h 587443"/>
                <a:gd name="connsiteX7" fmla="*/ 1742364 w 3223147"/>
                <a:gd name="connsiteY7" fmla="*/ 1 h 587443"/>
                <a:gd name="connsiteX8" fmla="*/ 1201003 w 3223147"/>
                <a:gd name="connsiteY8" fmla="*/ 0 h 587443"/>
                <a:gd name="connsiteX9" fmla="*/ 3223147 w 3223147"/>
                <a:gd name="connsiteY9" fmla="*/ 587443 h 587443"/>
                <a:gd name="connsiteX10" fmla="*/ 3340 w 3223147"/>
                <a:gd name="connsiteY10" fmla="*/ 587443 h 587443"/>
                <a:gd name="connsiteX11" fmla="*/ 3340 w 3223147"/>
                <a:gd name="connsiteY11" fmla="*/ 11371 h 587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23147" h="587443">
                  <a:moveTo>
                    <a:pt x="3340" y="11371"/>
                  </a:moveTo>
                  <a:lnTo>
                    <a:pt x="0" y="4549"/>
                  </a:lnTo>
                  <a:lnTo>
                    <a:pt x="191068" y="4549"/>
                  </a:lnTo>
                  <a:lnTo>
                    <a:pt x="1000836" y="4550"/>
                  </a:lnTo>
                  <a:lnTo>
                    <a:pt x="3223147" y="11371"/>
                  </a:lnTo>
                  <a:lnTo>
                    <a:pt x="3043451" y="9099"/>
                  </a:lnTo>
                  <a:lnTo>
                    <a:pt x="2192740" y="4550"/>
                  </a:lnTo>
                  <a:lnTo>
                    <a:pt x="1742364" y="1"/>
                  </a:lnTo>
                  <a:lnTo>
                    <a:pt x="1201003" y="0"/>
                  </a:lnTo>
                  <a:lnTo>
                    <a:pt x="3223147" y="587443"/>
                  </a:lnTo>
                  <a:lnTo>
                    <a:pt x="3340" y="587443"/>
                  </a:lnTo>
                  <a:lnTo>
                    <a:pt x="3340" y="11371"/>
                  </a:lnTo>
                  <a:close/>
                </a:path>
              </a:pathLst>
            </a:custGeom>
            <a:solidFill>
              <a:schemeClr val="accent1">
                <a:alpha val="0"/>
              </a:schemeClr>
            </a:solidFill>
            <a:ln>
              <a:solidFill>
                <a:schemeClr val="accent1">
                  <a:shade val="50000"/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9BBC95B-A908-4EA2-BFAA-19724BD0B377}"/>
                </a:ext>
              </a:extLst>
            </p:cNvPr>
            <p:cNvCxnSpPr>
              <a:stCxn id="55" idx="3"/>
              <a:endCxn id="55" idx="3"/>
            </p:cNvCxnSpPr>
            <p:nvPr/>
          </p:nvCxnSpPr>
          <p:spPr>
            <a:xfrm>
              <a:off x="7433481" y="3566615"/>
              <a:ext cx="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91208BA2-424F-48B3-8232-83514552DC17}"/>
                </a:ext>
              </a:extLst>
            </p:cNvPr>
            <p:cNvCxnSpPr>
              <a:cxnSpLocks/>
              <a:stCxn id="55" idx="8"/>
            </p:cNvCxnSpPr>
            <p:nvPr/>
          </p:nvCxnSpPr>
          <p:spPr>
            <a:xfrm flipV="1">
              <a:off x="7633648" y="3302794"/>
              <a:ext cx="0" cy="259271"/>
            </a:xfrm>
            <a:prstGeom prst="line">
              <a:avLst/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nector: Elbow 72">
              <a:extLst>
                <a:ext uri="{FF2B5EF4-FFF2-40B4-BE49-F238E27FC236}">
                  <a16:creationId xmlns:a16="http://schemas.microsoft.com/office/drawing/2014/main" id="{D44D44CA-C67B-4014-AC5D-F4A498C57107}"/>
                </a:ext>
              </a:extLst>
            </p:cNvPr>
            <p:cNvCxnSpPr>
              <a:cxnSpLocks/>
            </p:cNvCxnSpPr>
            <p:nvPr/>
          </p:nvCxnSpPr>
          <p:spPr>
            <a:xfrm>
              <a:off x="7633648" y="3320771"/>
              <a:ext cx="805704" cy="241294"/>
            </a:xfrm>
            <a:prstGeom prst="bentConnector3">
              <a:avLst>
                <a:gd name="adj1" fmla="val 100252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3E481679-3146-4B8A-B68D-7111E09B9B77}"/>
                </a:ext>
              </a:extLst>
            </p:cNvPr>
            <p:cNvCxnSpPr>
              <a:cxnSpLocks/>
              <a:stCxn id="55" idx="2"/>
            </p:cNvCxnSpPr>
            <p:nvPr/>
          </p:nvCxnSpPr>
          <p:spPr>
            <a:xfrm flipV="1">
              <a:off x="6623713" y="3302794"/>
              <a:ext cx="0" cy="263820"/>
            </a:xfrm>
            <a:prstGeom prst="line">
              <a:avLst/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nector: Elbow 80">
              <a:extLst>
                <a:ext uri="{FF2B5EF4-FFF2-40B4-BE49-F238E27FC236}">
                  <a16:creationId xmlns:a16="http://schemas.microsoft.com/office/drawing/2014/main" id="{D2FC152F-60A9-43C8-84AC-54DFEB84DC6C}"/>
                </a:ext>
              </a:extLst>
            </p:cNvPr>
            <p:cNvCxnSpPr>
              <a:cxnSpLocks/>
              <a:endCxn id="55" idx="3"/>
            </p:cNvCxnSpPr>
            <p:nvPr/>
          </p:nvCxnSpPr>
          <p:spPr>
            <a:xfrm>
              <a:off x="6623228" y="3320771"/>
              <a:ext cx="810253" cy="245844"/>
            </a:xfrm>
            <a:prstGeom prst="bentConnector3">
              <a:avLst>
                <a:gd name="adj1" fmla="val 100421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35721955-D4DA-4993-82A3-0BC7A4159567}"/>
                </a:ext>
              </a:extLst>
            </p:cNvPr>
            <p:cNvCxnSpPr>
              <a:cxnSpLocks/>
              <a:stCxn id="55" idx="6"/>
            </p:cNvCxnSpPr>
            <p:nvPr/>
          </p:nvCxnSpPr>
          <p:spPr>
            <a:xfrm flipV="1">
              <a:off x="8625385" y="3320771"/>
              <a:ext cx="0" cy="245844"/>
            </a:xfrm>
            <a:prstGeom prst="line">
              <a:avLst/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nector: Elbow 88">
              <a:extLst>
                <a:ext uri="{FF2B5EF4-FFF2-40B4-BE49-F238E27FC236}">
                  <a16:creationId xmlns:a16="http://schemas.microsoft.com/office/drawing/2014/main" id="{25F335B6-CA3F-41FC-A0BD-0B81786F0E67}"/>
                </a:ext>
              </a:extLst>
            </p:cNvPr>
            <p:cNvCxnSpPr>
              <a:cxnSpLocks/>
              <a:endCxn id="55" idx="5"/>
            </p:cNvCxnSpPr>
            <p:nvPr/>
          </p:nvCxnSpPr>
          <p:spPr>
            <a:xfrm>
              <a:off x="8615375" y="3328563"/>
              <a:ext cx="860721" cy="242601"/>
            </a:xfrm>
            <a:prstGeom prst="bentConnector3">
              <a:avLst>
                <a:gd name="adj1" fmla="val 101235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31ACF005-05D3-447B-8431-717459E04F1C}"/>
                </a:ext>
              </a:extLst>
            </p:cNvPr>
            <p:cNvCxnSpPr>
              <a:cxnSpLocks/>
              <a:stCxn id="55" idx="4"/>
            </p:cNvCxnSpPr>
            <p:nvPr/>
          </p:nvCxnSpPr>
          <p:spPr>
            <a:xfrm flipV="1">
              <a:off x="9655792" y="3320771"/>
              <a:ext cx="0" cy="252665"/>
            </a:xfrm>
            <a:prstGeom prst="line">
              <a:avLst/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Connector: Elbow 101">
              <a:extLst>
                <a:ext uri="{FF2B5EF4-FFF2-40B4-BE49-F238E27FC236}">
                  <a16:creationId xmlns:a16="http://schemas.microsoft.com/office/drawing/2014/main" id="{6ADF6A01-9079-44C3-A264-386D360CA554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9069330" y="3915025"/>
              <a:ext cx="1839388" cy="666465"/>
            </a:xfrm>
            <a:prstGeom prst="bentConnector3">
              <a:avLst>
                <a:gd name="adj1" fmla="val 40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ctor: Elbow 104">
              <a:extLst>
                <a:ext uri="{FF2B5EF4-FFF2-40B4-BE49-F238E27FC236}">
                  <a16:creationId xmlns:a16="http://schemas.microsoft.com/office/drawing/2014/main" id="{E5CF8538-7752-44AB-B6E3-72C69212CB35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2870580" y="4187712"/>
              <a:ext cx="7461687" cy="980241"/>
            </a:xfrm>
            <a:prstGeom prst="bentConnector3">
              <a:avLst>
                <a:gd name="adj1" fmla="val 76460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8" name="Picture Placeholder 31" descr="A picture containing knife&#10;&#10;Description automatically generated">
              <a:extLst>
                <a:ext uri="{FF2B5EF4-FFF2-40B4-BE49-F238E27FC236}">
                  <a16:creationId xmlns:a16="http://schemas.microsoft.com/office/drawing/2014/main" id="{BE413CE0-6C72-4199-94CB-1AFC61E3A4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9197" t="3465" r="-27650" b="-3465"/>
            <a:stretch/>
          </p:blipFill>
          <p:spPr>
            <a:xfrm>
              <a:off x="1438568" y="3405410"/>
              <a:ext cx="640261" cy="435859"/>
            </a:xfrm>
            <a:prstGeom prst="parallelogram">
              <a:avLst>
                <a:gd name="adj" fmla="val 0"/>
              </a:avLst>
            </a:prstGeom>
          </p:spPr>
        </p:pic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5439788-C96C-422F-A242-1652AC0E0EBC}"/>
              </a:ext>
            </a:extLst>
          </p:cNvPr>
          <p:cNvCxnSpPr>
            <a:cxnSpLocks/>
            <a:endCxn id="55" idx="10"/>
          </p:cNvCxnSpPr>
          <p:nvPr/>
        </p:nvCxnSpPr>
        <p:spPr>
          <a:xfrm>
            <a:off x="6317629" y="2329958"/>
            <a:ext cx="118356" cy="181955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C14C339-B3FF-434A-B2D4-5EEC3F3DFA31}"/>
              </a:ext>
            </a:extLst>
          </p:cNvPr>
          <p:cNvCxnSpPr/>
          <p:nvPr/>
        </p:nvCxnSpPr>
        <p:spPr>
          <a:xfrm>
            <a:off x="7204141" y="2693888"/>
            <a:ext cx="339024" cy="1474974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E3AC746-9DBA-4C5C-9819-448F197FBAE6}"/>
              </a:ext>
            </a:extLst>
          </p:cNvPr>
          <p:cNvCxnSpPr/>
          <p:nvPr/>
        </p:nvCxnSpPr>
        <p:spPr>
          <a:xfrm>
            <a:off x="7633163" y="2164599"/>
            <a:ext cx="895794" cy="1997153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328C3DE-84B8-401B-8872-A8DF7B5557A4}"/>
              </a:ext>
            </a:extLst>
          </p:cNvPr>
          <p:cNvCxnSpPr/>
          <p:nvPr/>
        </p:nvCxnSpPr>
        <p:spPr>
          <a:xfrm>
            <a:off x="9361024" y="2582735"/>
            <a:ext cx="230088" cy="1592541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F2D55EF7-2170-4161-9DBC-ED0BB7E690B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714" y="2449195"/>
            <a:ext cx="606030" cy="561840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C8ECDAF-6DF5-42C5-81B5-7D64D236AF4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8137" y="2225896"/>
            <a:ext cx="542901" cy="561840"/>
          </a:xfrm>
          <a:prstGeom prst="rect">
            <a:avLst/>
          </a:prstGeom>
        </p:spPr>
      </p:pic>
      <p:pic>
        <p:nvPicPr>
          <p:cNvPr id="15" name="Picture 14" descr="A close up of a device&#10;&#10;Description automatically generated">
            <a:extLst>
              <a:ext uri="{FF2B5EF4-FFF2-40B4-BE49-F238E27FC236}">
                <a16:creationId xmlns:a16="http://schemas.microsoft.com/office/drawing/2014/main" id="{3931B85E-494C-4D8C-B663-E760AAD2E96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8685" y="1919904"/>
            <a:ext cx="580779" cy="561841"/>
          </a:xfrm>
          <a:prstGeom prst="rect">
            <a:avLst/>
          </a:prstGeom>
        </p:spPr>
      </p:pic>
      <p:pic>
        <p:nvPicPr>
          <p:cNvPr id="18" name="Picture 17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8EDB3118-375A-4A9A-9DF6-C88F147CA06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247" y="2035252"/>
            <a:ext cx="601981" cy="595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4773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3AC0CE6E-99DC-4C87-94D3-6BCFB06371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700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4" imgW="308" imgH="305" progId="TCLayout.ActiveDocument.1">
                  <p:embed/>
                </p:oleObj>
              </mc:Choice>
              <mc:Fallback>
                <p:oleObj name="think-cell Slide" r:id="rId4" imgW="308" imgH="305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3AC0CE6E-99DC-4C87-94D3-6BCFB0637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Placeholder 2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B1D5411-8F11-4D0D-B101-9848A1642FC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" r="2068"/>
          <a:stretch>
            <a:fillRect/>
          </a:stretch>
        </p:blipFill>
        <p:spPr>
          <a:xfrm>
            <a:off x="1480029" y="1807073"/>
            <a:ext cx="3570143" cy="2432640"/>
          </a:xfrm>
          <a:prstGeom prst="parallelogram">
            <a:avLst>
              <a:gd name="adj" fmla="val 0"/>
            </a:avLst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580F9B-0B9D-488C-A893-A0814249F7C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910190" y="1926113"/>
            <a:ext cx="2350659" cy="490855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New Programmable RTU with fully featured workbench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CCED2B-87B4-4587-BDBA-FE400A4271D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944374" y="4554681"/>
            <a:ext cx="2350659" cy="49085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New IEC61131-3 Programming Workbench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B308D2-2F59-4A66-9635-B965FB4A349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10190" y="1303352"/>
            <a:ext cx="2350659" cy="54864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ST-IPm-8460 and Red Lion Workbench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37E9773-98BC-40A3-96D7-6F1C8F14AEA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910190" y="2474753"/>
            <a:ext cx="2350008" cy="1097280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Redundant Operation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811A201-C8A3-4717-A1B4-A68D88F7ABF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944374" y="5103321"/>
            <a:ext cx="2350008" cy="1097280"/>
          </a:xfrm>
        </p:spPr>
        <p:txBody>
          <a:bodyPr/>
          <a:lstStyle/>
          <a:p>
            <a:r>
              <a:rPr lang="en-US" dirty="0"/>
              <a:t>5 Languages</a:t>
            </a:r>
          </a:p>
          <a:p>
            <a:r>
              <a:rPr lang="en-US" dirty="0"/>
              <a:t>Protocols </a:t>
            </a:r>
          </a:p>
          <a:p>
            <a:r>
              <a:rPr lang="en-US" dirty="0"/>
              <a:t>Redundancy</a:t>
            </a:r>
          </a:p>
          <a:p>
            <a:r>
              <a:rPr lang="en-US" dirty="0"/>
              <a:t>Two variable database or one variable databas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5807933-FCEE-4A60-BEB4-3E9D510DBAB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ST-IPm-8460 and Red Lion Workbench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E12E01-70BC-4F37-987A-97D65AA674A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Powerful Combination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58BA71F-6AE3-4A8E-97E0-7528AF329A5A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944374" y="3931920"/>
            <a:ext cx="2350659" cy="548640"/>
          </a:xfrm>
        </p:spPr>
        <p:txBody>
          <a:bodyPr>
            <a:normAutofit/>
          </a:bodyPr>
          <a:lstStyle/>
          <a:p>
            <a:r>
              <a:rPr lang="en-US" dirty="0"/>
              <a:t>Red Lion Workben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F4DCAB-F7AF-4542-AEA3-41D03179032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63200" y="6505575"/>
            <a:ext cx="1828800" cy="304800"/>
          </a:xfrm>
          <a:prstGeom prst="rect">
            <a:avLst/>
          </a:prstGeom>
        </p:spPr>
        <p:txBody>
          <a:bodyPr/>
          <a:lstStyle/>
          <a:p>
            <a:fld id="{885EB80D-D8DF-4B62-B287-731EC7FD2E47}" type="slidenum">
              <a:rPr lang="en-US" altLang="en-US" smtClean="0"/>
              <a:pPr/>
              <a:t>16</a:t>
            </a:fld>
            <a:endParaRPr lang="en-US" altLang="en-US"/>
          </a:p>
        </p:txBody>
      </p:sp>
      <p:pic>
        <p:nvPicPr>
          <p:cNvPr id="32" name="Picture Placeholder 31" descr="A picture containing knife&#10;&#10;Description automatically generated">
            <a:extLst>
              <a:ext uri="{FF2B5EF4-FFF2-40B4-BE49-F238E27FC236}">
                <a16:creationId xmlns:a16="http://schemas.microsoft.com/office/drawing/2014/main" id="{D387F5E1-0DD9-4FA9-A830-FA02F1F5C05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197" t="3465" r="-27650" b="-3465"/>
          <a:stretch/>
        </p:blipFill>
        <p:spPr>
          <a:xfrm>
            <a:off x="2467062" y="4634034"/>
            <a:ext cx="1378733" cy="938573"/>
          </a:xfrm>
          <a:prstGeom prst="parallelogram">
            <a:avLst>
              <a:gd name="adj" fmla="val 0"/>
            </a:avLst>
          </a:prstGeom>
        </p:spPr>
      </p:pic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006113CE-EFB1-40F6-8E97-6F8F4754E15B}"/>
              </a:ext>
            </a:extLst>
          </p:cNvPr>
          <p:cNvSpPr txBox="1">
            <a:spLocks/>
          </p:cNvSpPr>
          <p:nvPr/>
        </p:nvSpPr>
        <p:spPr>
          <a:xfrm>
            <a:off x="2106406" y="5571454"/>
            <a:ext cx="2100044" cy="38881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Red Lion Workbench Inside</a:t>
            </a:r>
          </a:p>
        </p:txBody>
      </p:sp>
    </p:spTree>
    <p:extLst>
      <p:ext uri="{BB962C8B-B14F-4D97-AF65-F5344CB8AC3E}">
        <p14:creationId xmlns:p14="http://schemas.microsoft.com/office/powerpoint/2010/main" val="10544612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606A80D-91DC-4979-B7F8-C52F806E79B1}"/>
              </a:ext>
            </a:extLst>
          </p:cNvPr>
          <p:cNvSpPr txBox="1"/>
          <p:nvPr/>
        </p:nvSpPr>
        <p:spPr>
          <a:xfrm>
            <a:off x="1337245" y="3105834"/>
            <a:ext cx="3668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DFE0E2"/>
                </a:solidFill>
              </a:rPr>
              <a:t>support.redlion.net</a:t>
            </a:r>
          </a:p>
          <a:p>
            <a:r>
              <a:rPr lang="en-US" dirty="0">
                <a:solidFill>
                  <a:srgbClr val="DFE0E2"/>
                </a:solidFill>
              </a:rPr>
              <a:t>jacob.colegrove@redlion.net</a:t>
            </a:r>
          </a:p>
        </p:txBody>
      </p:sp>
      <p:pic>
        <p:nvPicPr>
          <p:cNvPr id="3" name="Content Placeholder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AF626-1D6F-4D91-9646-41A9CA07DC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8532" y="206629"/>
            <a:ext cx="3081681" cy="2012950"/>
          </a:xfrm>
          <a:prstGeom prst="rect">
            <a:avLst/>
          </a:prstGeom>
        </p:spPr>
      </p:pic>
      <p:pic>
        <p:nvPicPr>
          <p:cNvPr id="4" name="Picture Placeholder 31" descr="A picture containing knife&#10;&#10;Description automatically generated">
            <a:extLst>
              <a:ext uri="{FF2B5EF4-FFF2-40B4-BE49-F238E27FC236}">
                <a16:creationId xmlns:a16="http://schemas.microsoft.com/office/drawing/2014/main" id="{A489D944-2B62-492D-A4D5-ECFF2375E94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197" t="3465" r="-27650" b="-3465"/>
          <a:stretch/>
        </p:blipFill>
        <p:spPr>
          <a:xfrm>
            <a:off x="8574736" y="306973"/>
            <a:ext cx="2662151" cy="1812261"/>
          </a:xfrm>
          <a:prstGeom prst="parallelogram">
            <a:avLst>
              <a:gd name="adj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694524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3AC0CE6E-99DC-4C87-94D3-6BCFB06371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4738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08" imgH="305" progId="TCLayout.ActiveDocument.1">
                  <p:embed/>
                </p:oleObj>
              </mc:Choice>
              <mc:Fallback>
                <p:oleObj name="think-cell Slide" r:id="rId4" imgW="308" imgH="305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3AC0CE6E-99DC-4C87-94D3-6BCFB0637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Placeholder 31" descr="A picture containing knife&#10;&#10;Description automatically generated">
            <a:extLst>
              <a:ext uri="{FF2B5EF4-FFF2-40B4-BE49-F238E27FC236}">
                <a16:creationId xmlns:a16="http://schemas.microsoft.com/office/drawing/2014/main" id="{D387F5E1-0DD9-4FA9-A830-FA02F1F5C05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197" t="3465" r="-27650" b="-3465"/>
          <a:stretch/>
        </p:blipFill>
        <p:spPr>
          <a:xfrm>
            <a:off x="7255601" y="1939637"/>
            <a:ext cx="2662151" cy="1812261"/>
          </a:xfrm>
          <a:prstGeom prst="parallelogram">
            <a:avLst>
              <a:gd name="adj" fmla="val 0"/>
            </a:avLst>
          </a:prstGeom>
        </p:spPr>
      </p:pic>
      <p:pic>
        <p:nvPicPr>
          <p:cNvPr id="30" name="Picture Placeholder 2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B1D5411-8F11-4D0D-B101-9848A1642FC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" r="2068"/>
          <a:stretch>
            <a:fillRect/>
          </a:stretch>
        </p:blipFill>
        <p:spPr>
          <a:xfrm>
            <a:off x="2134370" y="2045963"/>
            <a:ext cx="2347592" cy="1599613"/>
          </a:xfrm>
          <a:prstGeom prst="parallelogram">
            <a:avLst>
              <a:gd name="adj" fmla="val 0"/>
            </a:avLst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580F9B-0B9D-488C-A893-A0814249F7C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134370" y="4480560"/>
            <a:ext cx="2350659" cy="490855"/>
          </a:xfrm>
        </p:spPr>
        <p:txBody>
          <a:bodyPr>
            <a:normAutofit/>
          </a:bodyPr>
          <a:lstStyle/>
          <a:p>
            <a:r>
              <a:rPr lang="en-US" dirty="0"/>
              <a:t>New Programmable RTU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CCED2B-87B4-4587-BDBA-FE400A4271D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11673" y="4480560"/>
            <a:ext cx="2350659" cy="49085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New IEC61131-3 Programming Workbench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B308D2-2F59-4A66-9635-B965FB4A349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134370" y="3857799"/>
            <a:ext cx="2350659" cy="548640"/>
          </a:xfrm>
        </p:spPr>
        <p:txBody>
          <a:bodyPr/>
          <a:lstStyle/>
          <a:p>
            <a:r>
              <a:rPr lang="en-US" dirty="0"/>
              <a:t>ST-IPm-8460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37E9773-98BC-40A3-96D7-6F1C8F14AEA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134370" y="5029200"/>
            <a:ext cx="2350008" cy="1097280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Redundant Operation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811A201-C8A3-4717-A1B4-A68D88F7ABF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411673" y="5029200"/>
            <a:ext cx="2350008" cy="1097280"/>
          </a:xfrm>
        </p:spPr>
        <p:txBody>
          <a:bodyPr/>
          <a:lstStyle/>
          <a:p>
            <a:r>
              <a:rPr lang="en-US" dirty="0"/>
              <a:t>5 Languages</a:t>
            </a:r>
          </a:p>
          <a:p>
            <a:r>
              <a:rPr lang="en-US" dirty="0"/>
              <a:t>Protocols</a:t>
            </a:r>
          </a:p>
          <a:p>
            <a:r>
              <a:rPr lang="en-US" dirty="0"/>
              <a:t>Redundancy</a:t>
            </a:r>
          </a:p>
          <a:p>
            <a:r>
              <a:rPr lang="en-US" dirty="0"/>
              <a:t>Two variable database or one variable databas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5807933-FCEE-4A60-BEB4-3E9D510DBAB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ST-IPm-8460 and Red Lion Workbench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E12E01-70BC-4F37-987A-97D65AA674A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New Product Introduction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58BA71F-6AE3-4A8E-97E0-7528AF329A5A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411673" y="3857799"/>
            <a:ext cx="2350659" cy="548640"/>
          </a:xfrm>
        </p:spPr>
        <p:txBody>
          <a:bodyPr>
            <a:normAutofit/>
          </a:bodyPr>
          <a:lstStyle/>
          <a:p>
            <a:r>
              <a:rPr lang="en-US" dirty="0"/>
              <a:t>Red Lion Workben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F4DCAB-F7AF-4542-AEA3-41D03179032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63200" y="6505575"/>
            <a:ext cx="1828800" cy="304800"/>
          </a:xfrm>
          <a:prstGeom prst="rect">
            <a:avLst/>
          </a:prstGeom>
        </p:spPr>
        <p:txBody>
          <a:bodyPr/>
          <a:lstStyle/>
          <a:p>
            <a:fld id="{885EB80D-D8DF-4B62-B287-731EC7FD2E47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20024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A picture containing meter, clock&#10;&#10;Description automatically generated">
            <a:extLst>
              <a:ext uri="{FF2B5EF4-FFF2-40B4-BE49-F238E27FC236}">
                <a16:creationId xmlns:a16="http://schemas.microsoft.com/office/drawing/2014/main" id="{34E44491-B256-47EF-8A9C-D546C2FCBB3F}"/>
              </a:ext>
            </a:extLst>
          </p:cNvPr>
          <p:cNvPicPr>
            <a:picLocks noGrp="1" noChangeAspect="1"/>
          </p:cNvPicPr>
          <p:nvPr>
            <p:ph sz="quarter" idx="3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816" y="2523009"/>
            <a:ext cx="4162608" cy="2720199"/>
          </a:xfrm>
          <a:prstGeom prst="rect">
            <a:avLst/>
          </a:prstGeom>
          <a:noFill/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93155D-3FF3-4CE3-93F9-6F446E937CF1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ST-IPm-8460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8C573F9-07CC-4941-A037-ED5A2415425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 anchor="b">
            <a:normAutofit lnSpcReduction="10000"/>
          </a:bodyPr>
          <a:lstStyle/>
          <a:p>
            <a:r>
              <a:rPr lang="en-US" b="0" i="0" kern="1200" baseline="0" dirty="0">
                <a:latin typeface="Titillium" pitchFamily="2" charset="77"/>
                <a:ea typeface="+mn-ea"/>
                <a:cs typeface="+mn-cs"/>
              </a:rPr>
              <a:t>Programmable Controll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0671B82-BF39-42DD-82A6-0A05F4ED9786}"/>
              </a:ext>
            </a:extLst>
          </p:cNvPr>
          <p:cNvSpPr txBox="1"/>
          <p:nvPr/>
        </p:nvSpPr>
        <p:spPr>
          <a:xfrm>
            <a:off x="6236677" y="922215"/>
            <a:ext cx="5845009" cy="5149401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accent2"/>
                </a:solidFill>
              </a:defRPr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accent2"/>
                </a:solidFill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chemeClr val="accent2"/>
                </a:solidFill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accent2"/>
                </a:solidFill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accent2"/>
                </a:solidFill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2800" dirty="0"/>
              <a:t>10x faster performance</a:t>
            </a:r>
          </a:p>
          <a:p>
            <a:r>
              <a:rPr lang="en-US" sz="2800" dirty="0"/>
              <a:t>4x more NVRAM</a:t>
            </a:r>
          </a:p>
          <a:p>
            <a:r>
              <a:rPr lang="en-US" sz="2800" dirty="0"/>
              <a:t>4x more FLASH</a:t>
            </a:r>
          </a:p>
          <a:p>
            <a:r>
              <a:rPr lang="en-US" sz="2800" dirty="0"/>
              <a:t>8x more RAM</a:t>
            </a:r>
          </a:p>
          <a:p>
            <a:r>
              <a:rPr lang="en-US" sz="2800" dirty="0"/>
              <a:t>Isolated RS232 and RS485 ports</a:t>
            </a:r>
          </a:p>
          <a:p>
            <a:r>
              <a:rPr lang="en-US" sz="2800" dirty="0"/>
              <a:t>1 additional Ethernet Port</a:t>
            </a:r>
          </a:p>
          <a:p>
            <a:r>
              <a:rPr lang="en-US" sz="2800" dirty="0"/>
              <a:t>ISaGRAF Compatible (backward compatibility)</a:t>
            </a:r>
          </a:p>
          <a:p>
            <a:r>
              <a:rPr lang="en-US" sz="2800" dirty="0"/>
              <a:t>New Red Lion Workbench (IEC61131-3 programming)</a:t>
            </a:r>
          </a:p>
        </p:txBody>
      </p:sp>
    </p:spTree>
    <p:extLst>
      <p:ext uri="{BB962C8B-B14F-4D97-AF65-F5344CB8AC3E}">
        <p14:creationId xmlns:p14="http://schemas.microsoft.com/office/powerpoint/2010/main" val="32066813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B806C1-8B1B-4AE1-84DC-8E782709F4C6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43161" y="219456"/>
            <a:ext cx="5230367" cy="6169152"/>
          </a:xfrm>
        </p:spPr>
        <p:txBody>
          <a:bodyPr>
            <a:normAutofit/>
          </a:bodyPr>
          <a:lstStyle/>
          <a:p>
            <a:r>
              <a:rPr lang="en-US" altLang="en-US" dirty="0"/>
              <a:t>Rugged dependability in extreme environments</a:t>
            </a:r>
          </a:p>
          <a:p>
            <a:pPr lvl="1"/>
            <a:r>
              <a:rPr lang="en-US" altLang="en-US" dirty="0"/>
              <a:t>Extreme temperature rating -40 to +70</a:t>
            </a:r>
            <a:r>
              <a:rPr lang="en-US" altLang="en-US" baseline="50000" dirty="0"/>
              <a:t>◦</a:t>
            </a:r>
            <a:r>
              <a:rPr lang="en-US" altLang="en-US" dirty="0"/>
              <a:t>C </a:t>
            </a:r>
          </a:p>
          <a:p>
            <a:pPr lvl="1"/>
            <a:r>
              <a:rPr lang="en-US" altLang="en-US" dirty="0"/>
              <a:t>High mean-time between failure (MTBF) </a:t>
            </a:r>
          </a:p>
          <a:p>
            <a:pPr>
              <a:lnSpc>
                <a:spcPct val="90000"/>
              </a:lnSpc>
            </a:pPr>
            <a:endParaRPr lang="en-US" altLang="en-US" dirty="0"/>
          </a:p>
          <a:p>
            <a:pPr>
              <a:lnSpc>
                <a:spcPct val="90000"/>
              </a:lnSpc>
            </a:pPr>
            <a:r>
              <a:rPr lang="en-US" altLang="en-US" dirty="0"/>
              <a:t>Redundancy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Redundant Controller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Dual Power Input</a:t>
            </a:r>
          </a:p>
          <a:p>
            <a:pPr>
              <a:lnSpc>
                <a:spcPct val="90000"/>
              </a:lnSpc>
            </a:pPr>
            <a:endParaRPr lang="en-US" altLang="en-US" dirty="0"/>
          </a:p>
          <a:p>
            <a:pPr>
              <a:lnSpc>
                <a:spcPct val="90000"/>
              </a:lnSpc>
            </a:pPr>
            <a:r>
              <a:rPr lang="en-US" altLang="en-US" dirty="0"/>
              <a:t>Many communication ports and protocols</a:t>
            </a:r>
          </a:p>
          <a:p>
            <a:pPr marL="457200" lvl="1" indent="0">
              <a:lnSpc>
                <a:spcPct val="90000"/>
              </a:lnSpc>
              <a:buNone/>
            </a:pPr>
            <a:r>
              <a:rPr lang="en-US" altLang="en-US" dirty="0"/>
              <a:t>- 3x RS232, 1x RS485, 6x Ethernet</a:t>
            </a:r>
          </a:p>
          <a:p>
            <a:pPr>
              <a:lnSpc>
                <a:spcPct val="90000"/>
              </a:lnSpc>
            </a:pPr>
            <a:endParaRPr lang="en-US" altLang="en-US" dirty="0"/>
          </a:p>
          <a:p>
            <a:pPr>
              <a:lnSpc>
                <a:spcPct val="90000"/>
              </a:lnSpc>
            </a:pPr>
            <a:r>
              <a:rPr lang="en-US" altLang="en-US" dirty="0"/>
              <a:t>Certified for hazardous environment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3F0773-2AB1-4BFF-A133-E347BE458B0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689661" y="0"/>
            <a:ext cx="10937706" cy="1123951"/>
          </a:xfrm>
        </p:spPr>
        <p:txBody>
          <a:bodyPr/>
          <a:lstStyle/>
          <a:p>
            <a:r>
              <a:rPr lang="en-US" dirty="0"/>
              <a:t>ST-IPm-846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62667D-E7E2-4AE3-9BBA-3418817C25A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Hardware Features</a:t>
            </a:r>
          </a:p>
        </p:txBody>
      </p:sp>
      <p:pic>
        <p:nvPicPr>
          <p:cNvPr id="6" name="Content Placeholder 1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6EADF3C-58A9-4988-95E4-E3853A07F7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5413" y="2744445"/>
            <a:ext cx="3509516" cy="2292411"/>
          </a:xfrm>
          <a:prstGeom prst="rect">
            <a:avLst/>
          </a:prstGeom>
        </p:spPr>
      </p:pic>
      <p:sp>
        <p:nvSpPr>
          <p:cNvPr id="7" name="Arrow: Up 6">
            <a:extLst>
              <a:ext uri="{FF2B5EF4-FFF2-40B4-BE49-F238E27FC236}">
                <a16:creationId xmlns:a16="http://schemas.microsoft.com/office/drawing/2014/main" id="{8B66EB49-BA43-4A81-A5FB-5C6FE2707429}"/>
              </a:ext>
            </a:extLst>
          </p:cNvPr>
          <p:cNvSpPr/>
          <p:nvPr/>
        </p:nvSpPr>
        <p:spPr>
          <a:xfrm>
            <a:off x="2468880" y="2344926"/>
            <a:ext cx="236220" cy="482094"/>
          </a:xfrm>
          <a:prstGeom prst="up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Up 7">
            <a:extLst>
              <a:ext uri="{FF2B5EF4-FFF2-40B4-BE49-F238E27FC236}">
                <a16:creationId xmlns:a16="http://schemas.microsoft.com/office/drawing/2014/main" id="{6F95ABBC-B143-4B1A-99CC-4622174F110E}"/>
              </a:ext>
            </a:extLst>
          </p:cNvPr>
          <p:cNvSpPr/>
          <p:nvPr/>
        </p:nvSpPr>
        <p:spPr>
          <a:xfrm>
            <a:off x="2773680" y="2344926"/>
            <a:ext cx="236220" cy="482094"/>
          </a:xfrm>
          <a:prstGeom prst="up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9CA47E86-0DD2-42C8-ACB7-11AB0EA8C8D8}"/>
              </a:ext>
            </a:extLst>
          </p:cNvPr>
          <p:cNvSpPr/>
          <p:nvPr/>
        </p:nvSpPr>
        <p:spPr>
          <a:xfrm>
            <a:off x="3055620" y="2338931"/>
            <a:ext cx="236220" cy="482094"/>
          </a:xfrm>
          <a:prstGeom prst="up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Up 9">
            <a:extLst>
              <a:ext uri="{FF2B5EF4-FFF2-40B4-BE49-F238E27FC236}">
                <a16:creationId xmlns:a16="http://schemas.microsoft.com/office/drawing/2014/main" id="{02E6FF23-24F0-4503-8B31-9F296EBFE901}"/>
              </a:ext>
            </a:extLst>
          </p:cNvPr>
          <p:cNvSpPr/>
          <p:nvPr/>
        </p:nvSpPr>
        <p:spPr>
          <a:xfrm>
            <a:off x="3360643" y="2338931"/>
            <a:ext cx="236220" cy="482094"/>
          </a:xfrm>
          <a:prstGeom prst="up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Up 10">
            <a:extLst>
              <a:ext uri="{FF2B5EF4-FFF2-40B4-BE49-F238E27FC236}">
                <a16:creationId xmlns:a16="http://schemas.microsoft.com/office/drawing/2014/main" id="{FDC5187D-C3BB-4CBE-808C-5695D234BC32}"/>
              </a:ext>
            </a:extLst>
          </p:cNvPr>
          <p:cNvSpPr/>
          <p:nvPr/>
        </p:nvSpPr>
        <p:spPr>
          <a:xfrm>
            <a:off x="3654013" y="2338931"/>
            <a:ext cx="236220" cy="482094"/>
          </a:xfrm>
          <a:prstGeom prst="up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C7E64D80-5FFA-4E6C-BABD-807B19053E16}"/>
              </a:ext>
            </a:extLst>
          </p:cNvPr>
          <p:cNvSpPr/>
          <p:nvPr/>
        </p:nvSpPr>
        <p:spPr>
          <a:xfrm>
            <a:off x="2142409" y="2118360"/>
            <a:ext cx="236220" cy="725017"/>
          </a:xfrm>
          <a:prstGeom prst="upArrow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0908C9-6057-4076-9056-A22C93EDF462}"/>
              </a:ext>
            </a:extLst>
          </p:cNvPr>
          <p:cNvSpPr txBox="1"/>
          <p:nvPr/>
        </p:nvSpPr>
        <p:spPr>
          <a:xfrm>
            <a:off x="2525352" y="2006387"/>
            <a:ext cx="1562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thernet 2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3B7E95F8-96B3-40C8-B260-41990B93B2E5}"/>
              </a:ext>
            </a:extLst>
          </p:cNvPr>
          <p:cNvSpPr/>
          <p:nvPr/>
        </p:nvSpPr>
        <p:spPr>
          <a:xfrm>
            <a:off x="4381500" y="3429000"/>
            <a:ext cx="579120" cy="20574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39C23B-6637-4BA8-9A00-AC3392A4B58D}"/>
              </a:ext>
            </a:extLst>
          </p:cNvPr>
          <p:cNvSpPr txBox="1"/>
          <p:nvPr/>
        </p:nvSpPr>
        <p:spPr>
          <a:xfrm>
            <a:off x="4901214" y="3354771"/>
            <a:ext cx="1562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232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41F71321-5A2B-45A0-AD21-835212D2BCBE}"/>
              </a:ext>
            </a:extLst>
          </p:cNvPr>
          <p:cNvSpPr/>
          <p:nvPr/>
        </p:nvSpPr>
        <p:spPr>
          <a:xfrm>
            <a:off x="4381500" y="3898659"/>
            <a:ext cx="579120" cy="20574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DB582D-F9B2-4BB9-B9D2-B572117B9FB8}"/>
              </a:ext>
            </a:extLst>
          </p:cNvPr>
          <p:cNvSpPr txBox="1"/>
          <p:nvPr/>
        </p:nvSpPr>
        <p:spPr>
          <a:xfrm>
            <a:off x="4886486" y="3816863"/>
            <a:ext cx="1562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232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9DFDD480-E123-47AB-A2A5-D669EBC364D2}"/>
              </a:ext>
            </a:extLst>
          </p:cNvPr>
          <p:cNvSpPr/>
          <p:nvPr/>
        </p:nvSpPr>
        <p:spPr>
          <a:xfrm rot="5400000">
            <a:off x="2585676" y="5211530"/>
            <a:ext cx="947503" cy="205741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20E1749-ADE8-4639-9A1C-05030C061E08}"/>
              </a:ext>
            </a:extLst>
          </p:cNvPr>
          <p:cNvSpPr txBox="1"/>
          <p:nvPr/>
        </p:nvSpPr>
        <p:spPr>
          <a:xfrm>
            <a:off x="2369820" y="5826173"/>
            <a:ext cx="1562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232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B4AC039-4E65-46A0-A9C8-0D6667BE4AB6}"/>
              </a:ext>
            </a:extLst>
          </p:cNvPr>
          <p:cNvSpPr/>
          <p:nvPr/>
        </p:nvSpPr>
        <p:spPr>
          <a:xfrm rot="5400000">
            <a:off x="3380668" y="4927305"/>
            <a:ext cx="379050" cy="20574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71C0776-05F3-4A75-8421-5FB098ABA482}"/>
              </a:ext>
            </a:extLst>
          </p:cNvPr>
          <p:cNvSpPr txBox="1"/>
          <p:nvPr/>
        </p:nvSpPr>
        <p:spPr>
          <a:xfrm>
            <a:off x="3390138" y="5149765"/>
            <a:ext cx="1562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S485</a:t>
            </a:r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14AD23BA-C203-418F-879F-71C7D5B27364}"/>
              </a:ext>
            </a:extLst>
          </p:cNvPr>
          <p:cNvSpPr/>
          <p:nvPr/>
        </p:nvSpPr>
        <p:spPr>
          <a:xfrm rot="19608421">
            <a:off x="3687013" y="3043393"/>
            <a:ext cx="1013338" cy="238086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864B57E-3E99-40D3-A703-4B419D61EE5F}"/>
              </a:ext>
            </a:extLst>
          </p:cNvPr>
          <p:cNvSpPr txBox="1"/>
          <p:nvPr/>
        </p:nvSpPr>
        <p:spPr>
          <a:xfrm>
            <a:off x="4596414" y="2646216"/>
            <a:ext cx="156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B Device</a:t>
            </a:r>
          </a:p>
          <a:p>
            <a:r>
              <a:rPr lang="en-US" dirty="0"/>
              <a:t>(Future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23841CF-9816-4490-973F-6C1C3800C5D8}"/>
              </a:ext>
            </a:extLst>
          </p:cNvPr>
          <p:cNvSpPr txBox="1"/>
          <p:nvPr/>
        </p:nvSpPr>
        <p:spPr>
          <a:xfrm>
            <a:off x="1220260" y="1824163"/>
            <a:ext cx="1562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thernet 1</a:t>
            </a: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7D2F30AE-7098-4582-894A-219BAAE1679B}"/>
              </a:ext>
            </a:extLst>
          </p:cNvPr>
          <p:cNvSpPr/>
          <p:nvPr/>
        </p:nvSpPr>
        <p:spPr>
          <a:xfrm rot="5400000">
            <a:off x="2369406" y="4949616"/>
            <a:ext cx="379050" cy="205740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1840973-8E66-4CFD-9C8A-46EE07D37DAF}"/>
              </a:ext>
            </a:extLst>
          </p:cNvPr>
          <p:cNvSpPr txBox="1"/>
          <p:nvPr/>
        </p:nvSpPr>
        <p:spPr>
          <a:xfrm>
            <a:off x="1355750" y="5163861"/>
            <a:ext cx="13661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al Pow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B49C885-FB6C-4DF8-8AB3-D36FF30C88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5974" y="4908022"/>
            <a:ext cx="3487705" cy="60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992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288839-56AF-4FD1-A036-79701FDDB1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34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308" imgH="305" progId="TCLayout.ActiveDocument.1">
                  <p:embed/>
                </p:oleObj>
              </mc:Choice>
              <mc:Fallback>
                <p:oleObj name="think-cell Slide" r:id="rId5" imgW="308" imgH="30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288839-56AF-4FD1-A036-79701FDDB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Content Placeholder 10" descr="Processor">
            <a:extLst>
              <a:ext uri="{FF2B5EF4-FFF2-40B4-BE49-F238E27FC236}">
                <a16:creationId xmlns:a16="http://schemas.microsoft.com/office/drawing/2014/main" id="{6D4D9B09-D43D-4BD1-B9B4-C0E81B365E46}"/>
              </a:ext>
            </a:extLst>
          </p:cNvPr>
          <p:cNvPicPr>
            <a:picLocks noGrp="1" noChangeAspect="1"/>
          </p:cNvPicPr>
          <p:nvPr>
            <p:ph sz="quarter" idx="3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52871" y="654370"/>
            <a:ext cx="1956816" cy="1956816"/>
          </a:xfrm>
        </p:spPr>
      </p:pic>
      <p:pic>
        <p:nvPicPr>
          <p:cNvPr id="13" name="Content Placeholder 12" descr="A picture containing knife&#10;&#10;Description automatically generated">
            <a:extLst>
              <a:ext uri="{FF2B5EF4-FFF2-40B4-BE49-F238E27FC236}">
                <a16:creationId xmlns:a16="http://schemas.microsoft.com/office/drawing/2014/main" id="{B852DD4D-F6C6-4554-B233-3E26392834B6}"/>
              </a:ext>
            </a:extLst>
          </p:cNvPr>
          <p:cNvPicPr>
            <a:picLocks noGrp="1" noChangeAspect="1"/>
          </p:cNvPicPr>
          <p:nvPr>
            <p:ph sz="quarter" idx="32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3810" y="607456"/>
            <a:ext cx="1952149" cy="1952149"/>
          </a:xfrm>
        </p:spPr>
      </p:pic>
      <p:pic>
        <p:nvPicPr>
          <p:cNvPr id="15" name="Content Placeholder 14" descr="Statistics">
            <a:extLst>
              <a:ext uri="{FF2B5EF4-FFF2-40B4-BE49-F238E27FC236}">
                <a16:creationId xmlns:a16="http://schemas.microsoft.com/office/drawing/2014/main" id="{F34F6C8C-115F-4D39-9EB1-F60570B1325C}"/>
              </a:ext>
            </a:extLst>
          </p:cNvPr>
          <p:cNvPicPr>
            <a:picLocks noGrp="1" noChangeAspect="1"/>
          </p:cNvPicPr>
          <p:nvPr>
            <p:ph sz="quarter" idx="33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52871" y="3945804"/>
            <a:ext cx="1956816" cy="1956816"/>
          </a:xfrm>
        </p:spPr>
      </p:pic>
      <p:pic>
        <p:nvPicPr>
          <p:cNvPr id="17" name="Content Placeholder 16" descr="Users">
            <a:extLst>
              <a:ext uri="{FF2B5EF4-FFF2-40B4-BE49-F238E27FC236}">
                <a16:creationId xmlns:a16="http://schemas.microsoft.com/office/drawing/2014/main" id="{896DBCD1-2940-4BCC-B1BD-0CA74BAC2D9A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92954" y="3945804"/>
            <a:ext cx="1956816" cy="1956816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9D0862-A2A1-4ADD-9017-4E9A15DD956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ST-IPm-8460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110566A-524F-4F65-9EDE-EA8F3D4F7A7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Software Features</a:t>
            </a:r>
          </a:p>
        </p:txBody>
      </p:sp>
      <p:sp>
        <p:nvSpPr>
          <p:cNvPr id="265227" name="Rectangle 11">
            <a:extLst>
              <a:ext uri="{FF2B5EF4-FFF2-40B4-BE49-F238E27FC236}">
                <a16:creationId xmlns:a16="http://schemas.microsoft.com/office/drawing/2014/main" id="{61DC2BC2-7332-4ECB-8BC4-5AAE45D7602E}"/>
              </a:ext>
            </a:extLst>
          </p:cNvPr>
          <p:cNvSpPr>
            <a:spLocks noGrp="1" noChangeArrowheads="1"/>
          </p:cNvSpPr>
          <p:nvPr>
            <p:ph type="body" sz="quarter" idx="30"/>
          </p:nvPr>
        </p:nvSpPr>
        <p:spPr>
          <a:xfrm>
            <a:off x="560832" y="1901950"/>
            <a:ext cx="4206239" cy="4352545"/>
          </a:xfrm>
        </p:spPr>
        <p:txBody>
          <a:bodyPr>
            <a:normAutofit/>
          </a:bodyPr>
          <a:lstStyle/>
          <a:p>
            <a:r>
              <a:rPr lang="en-US" altLang="en-US" dirty="0"/>
              <a:t>Flexible open architecture </a:t>
            </a:r>
          </a:p>
          <a:p>
            <a:pPr lvl="1"/>
            <a:r>
              <a:rPr lang="en-US" altLang="en-US" dirty="0"/>
              <a:t>Linux operating system</a:t>
            </a:r>
          </a:p>
          <a:p>
            <a:r>
              <a:rPr lang="en-US" altLang="en-US" dirty="0"/>
              <a:t>Security</a:t>
            </a:r>
          </a:p>
          <a:p>
            <a:pPr lvl="1"/>
            <a:r>
              <a:rPr lang="en-US" altLang="en-US" dirty="0"/>
              <a:t>User Authentication</a:t>
            </a:r>
          </a:p>
          <a:p>
            <a:pPr lvl="1"/>
            <a:r>
              <a:rPr lang="en-US" altLang="en-US" dirty="0"/>
              <a:t>Advanced firewalls</a:t>
            </a:r>
          </a:p>
          <a:p>
            <a:r>
              <a:rPr lang="en-US" altLang="en-US" dirty="0"/>
              <a:t>Datalogging configuration</a:t>
            </a:r>
          </a:p>
          <a:p>
            <a:r>
              <a:rPr lang="en-US" altLang="en-US" dirty="0"/>
              <a:t>Programmable with IEC61131-3 and C</a:t>
            </a:r>
          </a:p>
          <a:p>
            <a:pPr lvl="1"/>
            <a:r>
              <a:rPr lang="en-US" altLang="en-US" dirty="0"/>
              <a:t>Red Lion Controls Workbench</a:t>
            </a:r>
          </a:p>
          <a:p>
            <a:pPr lvl="1"/>
            <a:r>
              <a:rPr lang="en-US" altLang="en-US" dirty="0"/>
              <a:t>ISaGRAF (backward compatibility)</a:t>
            </a:r>
          </a:p>
          <a:p>
            <a:endParaRPr lang="en-US" altLang="en-US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D272B03-E167-47BA-9D95-AF8749397AF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63200" y="6505575"/>
            <a:ext cx="1828800" cy="304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E70B2070-5038-4A2A-B6F3-38D3B18F3DFF}" type="slidenum">
              <a:rPr lang="en-US" altLang="en-US">
                <a:solidFill>
                  <a:srgbClr val="919195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altLang="en-US">
              <a:solidFill>
                <a:srgbClr val="919195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265218" name="Slide Number Placeholder 3">
            <a:extLst>
              <a:ext uri="{FF2B5EF4-FFF2-40B4-BE49-F238E27FC236}">
                <a16:creationId xmlns:a16="http://schemas.microsoft.com/office/drawing/2014/main" id="{34E12935-D613-4697-B9CF-B2F560B4AEC4}"/>
              </a:ext>
            </a:extLst>
          </p:cNvPr>
          <p:cNvSpPr txBox="1">
            <a:spLocks noGrp="1"/>
          </p:cNvSpPr>
          <p:nvPr/>
        </p:nvSpPr>
        <p:spPr bwMode="auto">
          <a:xfrm>
            <a:off x="9220200" y="6505575"/>
            <a:ext cx="13716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F0C569B4-6FCF-4FB2-9726-A0B53A723686}" type="slidenum">
              <a:rPr lang="en-US" altLang="en-US" sz="1400" b="1">
                <a:solidFill>
                  <a:srgbClr val="919195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altLang="en-US" sz="1400" b="1">
              <a:solidFill>
                <a:srgbClr val="919195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80CA06F-63F4-4A46-B304-A811F0D49D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32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308" imgH="305" progId="TCLayout.ActiveDocument.1">
                  <p:embed/>
                </p:oleObj>
              </mc:Choice>
              <mc:Fallback>
                <p:oleObj name="think-cell Slide" r:id="rId5" imgW="308" imgH="30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80CA06F-63F4-4A46-B304-A811F0D49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7ADE1F0-7BC9-40F4-937A-06156165A383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pic>
        <p:nvPicPr>
          <p:cNvPr id="10" name="Content Placeholder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02B1C84-7A6A-4A51-BAF8-D9B7C3477F47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628" y="4022725"/>
            <a:ext cx="3081681" cy="2012950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B0592FA-670A-47E1-83E2-54CCD2DB95F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ST-IPm-846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59B276-A3E2-4FD7-AD91-7C405C3CF2F6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Order Guide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4004FCF2-3234-47DA-A19E-161B7D8DEAA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63200" y="6505575"/>
            <a:ext cx="1828800" cy="304800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A722AEAB-873A-4F56-984A-DC4D5499D4D0}" type="slidenum">
              <a:rPr lang="en-US" altLang="en-US">
                <a:solidFill>
                  <a:srgbClr val="919195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altLang="en-US">
              <a:solidFill>
                <a:srgbClr val="919195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268290" name="Slide Number Placeholder 2">
            <a:extLst>
              <a:ext uri="{FF2B5EF4-FFF2-40B4-BE49-F238E27FC236}">
                <a16:creationId xmlns:a16="http://schemas.microsoft.com/office/drawing/2014/main" id="{67082125-B1D7-4F05-B05A-5371604CDB5D}"/>
              </a:ext>
            </a:extLst>
          </p:cNvPr>
          <p:cNvSpPr txBox="1">
            <a:spLocks noGrp="1"/>
          </p:cNvSpPr>
          <p:nvPr/>
        </p:nvSpPr>
        <p:spPr bwMode="auto">
          <a:xfrm>
            <a:off x="9220200" y="6505575"/>
            <a:ext cx="13716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E0FBC455-92E7-448B-A18F-A0377F1C6A89}" type="slidenum">
              <a:rPr lang="en-US" altLang="en-US" sz="1400" b="1">
                <a:solidFill>
                  <a:srgbClr val="919195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altLang="en-US" sz="1400" b="1">
              <a:solidFill>
                <a:srgbClr val="919195"/>
              </a:solidFill>
            </a:endParaRPr>
          </a:p>
        </p:txBody>
      </p:sp>
      <p:graphicFrame>
        <p:nvGraphicFramePr>
          <p:cNvPr id="268419" name="Group 131">
            <a:extLst>
              <a:ext uri="{FF2B5EF4-FFF2-40B4-BE49-F238E27FC236}">
                <a16:creationId xmlns:a16="http://schemas.microsoft.com/office/drawing/2014/main" id="{BBB7C329-9302-400E-AC6C-418F42008E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9325746"/>
              </p:ext>
            </p:extLst>
          </p:nvPr>
        </p:nvGraphicFramePr>
        <p:xfrm>
          <a:off x="717116" y="1899605"/>
          <a:ext cx="10919401" cy="1851799"/>
        </p:xfrm>
        <a:graphic>
          <a:graphicData uri="http://schemas.openxmlformats.org/drawingml/2006/table">
            <a:tbl>
              <a:tblPr/>
              <a:tblGrid>
                <a:gridCol w="2716447">
                  <a:extLst>
                    <a:ext uri="{9D8B030D-6E8A-4147-A177-3AD203B41FA5}">
                      <a16:colId xmlns:a16="http://schemas.microsoft.com/office/drawing/2014/main" val="4047445660"/>
                    </a:ext>
                  </a:extLst>
                </a:gridCol>
                <a:gridCol w="1367160">
                  <a:extLst>
                    <a:ext uri="{9D8B030D-6E8A-4147-A177-3AD203B41FA5}">
                      <a16:colId xmlns:a16="http://schemas.microsoft.com/office/drawing/2014/main" val="1214117118"/>
                    </a:ext>
                  </a:extLst>
                </a:gridCol>
                <a:gridCol w="1367158">
                  <a:extLst>
                    <a:ext uri="{9D8B030D-6E8A-4147-A177-3AD203B41FA5}">
                      <a16:colId xmlns:a16="http://schemas.microsoft.com/office/drawing/2014/main" val="3697115861"/>
                    </a:ext>
                  </a:extLst>
                </a:gridCol>
                <a:gridCol w="1367160">
                  <a:extLst>
                    <a:ext uri="{9D8B030D-6E8A-4147-A177-3AD203B41FA5}">
                      <a16:colId xmlns:a16="http://schemas.microsoft.com/office/drawing/2014/main" val="1287439477"/>
                    </a:ext>
                  </a:extLst>
                </a:gridCol>
                <a:gridCol w="1367158">
                  <a:extLst>
                    <a:ext uri="{9D8B030D-6E8A-4147-A177-3AD203B41FA5}">
                      <a16:colId xmlns:a16="http://schemas.microsoft.com/office/drawing/2014/main" val="1707369138"/>
                    </a:ext>
                  </a:extLst>
                </a:gridCol>
                <a:gridCol w="1367160">
                  <a:extLst>
                    <a:ext uri="{9D8B030D-6E8A-4147-A177-3AD203B41FA5}">
                      <a16:colId xmlns:a16="http://schemas.microsoft.com/office/drawing/2014/main" val="614473134"/>
                    </a:ext>
                  </a:extLst>
                </a:gridCol>
                <a:gridCol w="1367158">
                  <a:extLst>
                    <a:ext uri="{9D8B030D-6E8A-4147-A177-3AD203B41FA5}">
                      <a16:colId xmlns:a16="http://schemas.microsoft.com/office/drawing/2014/main" val="3590208514"/>
                    </a:ext>
                  </a:extLst>
                </a:gridCol>
              </a:tblGrid>
              <a:tr h="478094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 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PORTS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MEMORY</a:t>
                      </a:r>
                      <a:endParaRPr kumimoji="0" lang="en-US" altLang="en-US" sz="24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941774"/>
                  </a:ext>
                </a:extLst>
              </a:tr>
              <a:tr h="787449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Part Number</a:t>
                      </a:r>
                      <a:endParaRPr kumimoji="0" lang="en-US" altLang="en-US" sz="24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b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</a:b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Eth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32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85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NVRAM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FLASH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DRAM</a:t>
                      </a:r>
                      <a:endParaRPr kumimoji="0" lang="en-US" altLang="en-US" sz="24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734115"/>
                  </a:ext>
                </a:extLst>
              </a:tr>
              <a:tr h="550745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ST-IPm-8460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6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3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M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M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M</a:t>
                      </a:r>
                      <a:endParaRPr kumimoji="0" lang="en-US" alt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a:txBody>
                  <a:tcPr anchor="b" horzOverflow="overflow">
                    <a:lnL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191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955551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3AC0CE6E-99DC-4C87-94D3-6BCFB06371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308" imgH="305" progId="TCLayout.ActiveDocument.1">
                  <p:embed/>
                </p:oleObj>
              </mc:Choice>
              <mc:Fallback>
                <p:oleObj name="think-cell Slide" r:id="rId4" imgW="308" imgH="305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3AC0CE6E-99DC-4C87-94D3-6BCFB0637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Placeholder 31" descr="A picture containing knife&#10;&#10;Description automatically generated">
            <a:extLst>
              <a:ext uri="{FF2B5EF4-FFF2-40B4-BE49-F238E27FC236}">
                <a16:creationId xmlns:a16="http://schemas.microsoft.com/office/drawing/2014/main" id="{D387F5E1-0DD9-4FA9-A830-FA02F1F5C056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197" t="3465" r="-27650" b="-3465"/>
          <a:stretch/>
        </p:blipFill>
        <p:spPr>
          <a:xfrm>
            <a:off x="7255601" y="1939637"/>
            <a:ext cx="2662151" cy="1812261"/>
          </a:xfrm>
          <a:prstGeom prst="parallelogram">
            <a:avLst>
              <a:gd name="adj" fmla="val 0"/>
            </a:avLst>
          </a:prstGeom>
        </p:spPr>
      </p:pic>
      <p:pic>
        <p:nvPicPr>
          <p:cNvPr id="30" name="Picture Placeholder 2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B1D5411-8F11-4D0D-B101-9848A1642FC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" r="2068"/>
          <a:stretch>
            <a:fillRect/>
          </a:stretch>
        </p:blipFill>
        <p:spPr>
          <a:xfrm>
            <a:off x="2134370" y="2045963"/>
            <a:ext cx="2347592" cy="1599613"/>
          </a:xfrm>
          <a:prstGeom prst="parallelogram">
            <a:avLst>
              <a:gd name="adj" fmla="val 0"/>
            </a:avLst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580F9B-0B9D-488C-A893-A0814249F7C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134370" y="4480560"/>
            <a:ext cx="2350659" cy="490855"/>
          </a:xfrm>
        </p:spPr>
        <p:txBody>
          <a:bodyPr>
            <a:normAutofit/>
          </a:bodyPr>
          <a:lstStyle/>
          <a:p>
            <a:r>
              <a:rPr lang="en-US" dirty="0"/>
              <a:t>New Programmable RTU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CCCED2B-87B4-4587-BDBA-FE400A4271D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11673" y="4480560"/>
            <a:ext cx="2350659" cy="49085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New IEC61131-3 Programming Workbench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9B308D2-2F59-4A66-9635-B965FB4A349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134370" y="3857799"/>
            <a:ext cx="2350659" cy="548640"/>
          </a:xfrm>
        </p:spPr>
        <p:txBody>
          <a:bodyPr/>
          <a:lstStyle/>
          <a:p>
            <a:r>
              <a:rPr lang="en-US" dirty="0"/>
              <a:t>ST-IPm-8460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37E9773-98BC-40A3-96D7-6F1C8F14AEA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2134370" y="5029200"/>
            <a:ext cx="2350008" cy="1097280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Redundant Operation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811A201-C8A3-4717-A1B4-A68D88F7ABF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411673" y="5029200"/>
            <a:ext cx="2350008" cy="1097280"/>
          </a:xfrm>
        </p:spPr>
        <p:txBody>
          <a:bodyPr/>
          <a:lstStyle/>
          <a:p>
            <a:r>
              <a:rPr lang="en-US" dirty="0"/>
              <a:t>5 Languages</a:t>
            </a:r>
          </a:p>
          <a:p>
            <a:r>
              <a:rPr lang="en-US" dirty="0"/>
              <a:t>Protocols</a:t>
            </a:r>
          </a:p>
          <a:p>
            <a:r>
              <a:rPr lang="en-US" dirty="0"/>
              <a:t>Redundancy</a:t>
            </a:r>
          </a:p>
          <a:p>
            <a:r>
              <a:rPr lang="en-US" dirty="0"/>
              <a:t>Two variable database or one variable databas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5807933-FCEE-4A60-BEB4-3E9D510DBAB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ST-IPm-8460 and Red Lion Workbench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E12E01-70BC-4F37-987A-97D65AA674A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New Product Introduction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58BA71F-6AE3-4A8E-97E0-7528AF329A5A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411673" y="3857799"/>
            <a:ext cx="2350659" cy="548640"/>
          </a:xfrm>
        </p:spPr>
        <p:txBody>
          <a:bodyPr>
            <a:normAutofit/>
          </a:bodyPr>
          <a:lstStyle/>
          <a:p>
            <a:r>
              <a:rPr lang="en-US" dirty="0"/>
              <a:t>Red Lion Workben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F4DCAB-F7AF-4542-AEA3-41D03179032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63200" y="6505575"/>
            <a:ext cx="1828800" cy="304800"/>
          </a:xfrm>
          <a:prstGeom prst="rect">
            <a:avLst/>
          </a:prstGeom>
        </p:spPr>
        <p:txBody>
          <a:bodyPr/>
          <a:lstStyle/>
          <a:p>
            <a:fld id="{885EB80D-D8DF-4B62-B287-731EC7FD2E47}" type="slidenum">
              <a:rPr lang="en-US" altLang="en-US" smtClean="0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374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CC33B2-4844-4AAE-ADC1-4ED31D06F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17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308" imgH="305" progId="TCLayout.ActiveDocument.1">
                  <p:embed/>
                </p:oleObj>
              </mc:Choice>
              <mc:Fallback>
                <p:oleObj name="think-cell Slide" r:id="rId5" imgW="308" imgH="30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CC33B2-4844-4AAE-ADC1-4ED31D06F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Content Placeholder 1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40F4A92-00F4-4F86-A449-572385C6393A}"/>
              </a:ext>
            </a:extLst>
          </p:cNvPr>
          <p:cNvPicPr>
            <a:picLocks noGrp="1" noChangeAspect="1"/>
          </p:cNvPicPr>
          <p:nvPr>
            <p:ph sz="quarter" idx="3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050" y="4109283"/>
            <a:ext cx="3129949" cy="2055489"/>
          </a:xfrm>
        </p:spPr>
      </p:pic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1B8130B-1F48-4C90-989D-6BDAF2E7DD50}"/>
              </a:ext>
            </a:extLst>
          </p:cNvPr>
          <p:cNvSpPr>
            <a:spLocks noGrp="1"/>
          </p:cNvSpPr>
          <p:nvPr>
            <p:ph sz="quarter" idx="31"/>
          </p:nvPr>
        </p:nvSpPr>
        <p:spPr/>
        <p:txBody>
          <a:bodyPr>
            <a:norm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7432E97-4592-4C3D-94C5-8F8A951B3B59}"/>
              </a:ext>
            </a:extLst>
          </p:cNvPr>
          <p:cNvSpPr>
            <a:spLocks noGrp="1"/>
          </p:cNvSpPr>
          <p:nvPr>
            <p:ph sz="quarter" idx="3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EAC5CB4B-8EB7-43AF-9125-D339B21296A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17778" y="1992086"/>
            <a:ext cx="4632085" cy="4863103"/>
          </a:xfrm>
        </p:spPr>
        <p:txBody>
          <a:bodyPr>
            <a:normAutofit/>
          </a:bodyPr>
          <a:lstStyle/>
          <a:p>
            <a:r>
              <a:rPr lang="en-US" dirty="0"/>
              <a:t>5 Programming Languages</a:t>
            </a:r>
          </a:p>
          <a:p>
            <a:pPr lvl="1"/>
            <a:r>
              <a:rPr lang="en-US" dirty="0"/>
              <a:t>ST, SFC/CFC, IL, FBD, LD</a:t>
            </a:r>
          </a:p>
          <a:p>
            <a:r>
              <a:rPr lang="en-US" dirty="0"/>
              <a:t>Many Protocols Supported</a:t>
            </a:r>
          </a:p>
          <a:p>
            <a:pPr lvl="1"/>
            <a:r>
              <a:rPr lang="en-US" dirty="0"/>
              <a:t>Modbus Included</a:t>
            </a:r>
          </a:p>
          <a:p>
            <a:pPr lvl="1"/>
            <a:r>
              <a:rPr lang="en-US" dirty="0"/>
              <a:t>DNP3 (Future)</a:t>
            </a:r>
          </a:p>
          <a:p>
            <a:pPr lvl="1"/>
            <a:r>
              <a:rPr lang="en-US" dirty="0"/>
              <a:t>IEC60870 (Future)</a:t>
            </a:r>
          </a:p>
          <a:p>
            <a:pPr lvl="1"/>
            <a:r>
              <a:rPr lang="en-US" dirty="0"/>
              <a:t>IEC61850 (Future)</a:t>
            </a:r>
          </a:p>
          <a:p>
            <a:pPr lvl="1"/>
            <a:r>
              <a:rPr lang="en-US" dirty="0"/>
              <a:t>Ethernet/IP (Future)</a:t>
            </a:r>
          </a:p>
          <a:p>
            <a:r>
              <a:rPr lang="en-US" dirty="0"/>
              <a:t>Controller Redundancy</a:t>
            </a:r>
          </a:p>
          <a:p>
            <a:pPr lvl="1"/>
            <a:r>
              <a:rPr lang="en-US" dirty="0" err="1"/>
              <a:t>Bumpless</a:t>
            </a:r>
            <a:r>
              <a:rPr lang="en-US" dirty="0"/>
              <a:t> transfer</a:t>
            </a:r>
          </a:p>
          <a:p>
            <a:r>
              <a:rPr lang="en-US" dirty="0"/>
              <a:t>No License  Required</a:t>
            </a:r>
          </a:p>
          <a:p>
            <a:pPr lvl="1"/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3EFA437-987B-4555-801B-790F95722704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Red Lion Workbench</a:t>
            </a:r>
          </a:p>
        </p:txBody>
      </p:sp>
      <p:sp>
        <p:nvSpPr>
          <p:cNvPr id="49" name="Text Placeholder 18">
            <a:extLst>
              <a:ext uri="{FF2B5EF4-FFF2-40B4-BE49-F238E27FC236}">
                <a16:creationId xmlns:a16="http://schemas.microsoft.com/office/drawing/2014/main" id="{D9AE37B5-8197-4FB0-B49D-7F1E939D032E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IEC61131-3 Programming</a:t>
            </a:r>
          </a:p>
        </p:txBody>
      </p:sp>
      <p:pic>
        <p:nvPicPr>
          <p:cNvPr id="46" name="Picture Placeholder 33">
            <a:extLst>
              <a:ext uri="{FF2B5EF4-FFF2-40B4-BE49-F238E27FC236}">
                <a16:creationId xmlns:a16="http://schemas.microsoft.com/office/drawing/2014/main" id="{62C357C8-DDC8-4956-BAA1-34EB54679EF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59306" y="893677"/>
            <a:ext cx="3572965" cy="1869851"/>
          </a:xfrm>
          <a:prstGeom prst="parallelogram">
            <a:avLst>
              <a:gd name="adj" fmla="val 0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Picture Placeholder 31" descr="A screenshot of a cell phone&#10;&#10;Description automatically generated">
            <a:extLst>
              <a:ext uri="{FF2B5EF4-FFF2-40B4-BE49-F238E27FC236}">
                <a16:creationId xmlns:a16="http://schemas.microsoft.com/office/drawing/2014/main" id="{90A43805-77B9-469D-A541-93695209F6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0" r="5990"/>
          <a:stretch>
            <a:fillRect/>
          </a:stretch>
        </p:blipFill>
        <p:spPr>
          <a:xfrm>
            <a:off x="5052538" y="594222"/>
            <a:ext cx="3496004" cy="2379907"/>
          </a:xfrm>
          <a:prstGeom prst="parallelogram">
            <a:avLst>
              <a:gd name="adj" fmla="val 0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2" name="Text Placeholder 22">
            <a:extLst>
              <a:ext uri="{FF2B5EF4-FFF2-40B4-BE49-F238E27FC236}">
                <a16:creationId xmlns:a16="http://schemas.microsoft.com/office/drawing/2014/main" id="{215B7CF5-9BEC-41F9-B9F3-0320666DE24D}"/>
              </a:ext>
            </a:extLst>
          </p:cNvPr>
          <p:cNvSpPr txBox="1">
            <a:spLocks/>
          </p:cNvSpPr>
          <p:nvPr/>
        </p:nvSpPr>
        <p:spPr>
          <a:xfrm>
            <a:off x="686562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3660"/>
              </a:lnSpc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9" name="Content Placeholder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7F31FD9-CCFE-481A-B162-F9F3030BAA10}"/>
              </a:ext>
            </a:extLst>
          </p:cNvPr>
          <p:cNvPicPr>
            <a:picLocks noGrp="1" noChangeAspect="1"/>
          </p:cNvPicPr>
          <p:nvPr>
            <p:ph sz="quarter" idx="33"/>
          </p:nvPr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5155" b="94588" l="3872" r="95623">
                        <a14:foregroundMark x1="26599" y1="35052" x2="41414" y2="32990"/>
                        <a14:foregroundMark x1="41414" y1="32990" x2="46633" y2="34021"/>
                        <a14:foregroundMark x1="24916" y1="39691" x2="40741" y2="39691"/>
                        <a14:foregroundMark x1="40741" y1="39691" x2="46801" y2="39175"/>
                        <a14:foregroundMark x1="65152" y1="29897" x2="64646" y2="32990"/>
                        <a14:foregroundMark x1="65152" y1="30155" x2="67003" y2="32732"/>
                        <a14:foregroundMark x1="71886" y1="32990" x2="72391" y2="40722"/>
                        <a14:foregroundMark x1="16498" y1="16237" x2="20539" y2="21134"/>
                        <a14:foregroundMark x1="24579" y1="17268" x2="26599" y2="19845"/>
                        <a14:foregroundMark x1="28956" y1="17010" x2="29630" y2="17784"/>
                        <a14:foregroundMark x1="35522" y1="15206" x2="40909" y2="20361"/>
                        <a14:foregroundMark x1="44444" y1="16495" x2="44276" y2="18299"/>
                        <a14:foregroundMark x1="44613" y1="16495" x2="45118" y2="17268"/>
                        <a14:foregroundMark x1="46296" y1="17268" x2="47811" y2="17010"/>
                        <a14:foregroundMark x1="50842" y1="16237" x2="51347" y2="19072"/>
                        <a14:foregroundMark x1="22727" y1="65464" x2="24242" y2="67010"/>
                        <a14:foregroundMark x1="33670" y1="65206" x2="35017" y2="65722"/>
                        <a14:foregroundMark x1="52020" y1="65206" x2="52862" y2="67010"/>
                        <a14:foregroundMark x1="58418" y1="65722" x2="63973" y2="64691"/>
                        <a14:foregroundMark x1="54040" y1="15979" x2="54545" y2="18299"/>
                        <a14:foregroundMark x1="75926" y1="35567" x2="74242" y2="40206"/>
                        <a14:foregroundMark x1="75758" y1="51804" x2="74579" y2="56443"/>
                        <a14:foregroundMark x1="5051" y1="4639" x2="37037" y2="6701"/>
                        <a14:foregroundMark x1="37037" y1="6701" x2="52020" y2="5155"/>
                        <a14:foregroundMark x1="52020" y1="5155" x2="76768" y2="5928"/>
                        <a14:foregroundMark x1="13468" y1="9278" x2="28451" y2="9794"/>
                        <a14:foregroundMark x1="28451" y1="9794" x2="43266" y2="7216"/>
                        <a14:foregroundMark x1="43266" y1="7216" x2="73737" y2="9536"/>
                        <a14:foregroundMark x1="73737" y1="9536" x2="86364" y2="8763"/>
                        <a14:foregroundMark x1="81650" y1="5155" x2="87374" y2="8247"/>
                        <a14:foregroundMark x1="31987" y1="16495" x2="30135" y2="19072"/>
                        <a14:foregroundMark x1="36027" y1="16495" x2="37710" y2="19588"/>
                        <a14:foregroundMark x1="88552" y1="17010" x2="95455" y2="37371"/>
                        <a14:foregroundMark x1="95455" y1="37371" x2="95455" y2="60567"/>
                        <a14:foregroundMark x1="95455" y1="60567" x2="80808" y2="64948"/>
                        <a14:foregroundMark x1="80808" y1="64948" x2="81145" y2="41237"/>
                        <a14:foregroundMark x1="81145" y1="41237" x2="91751" y2="25000"/>
                        <a14:foregroundMark x1="91751" y1="25000" x2="88552" y2="20361"/>
                        <a14:foregroundMark x1="92761" y1="19072" x2="95118" y2="26804"/>
                        <a14:foregroundMark x1="95791" y1="69845" x2="95286" y2="87629"/>
                        <a14:foregroundMark x1="95623" y1="88918" x2="89731" y2="93041"/>
                        <a14:foregroundMark x1="87374" y1="93041" x2="72222" y2="91753"/>
                        <a14:foregroundMark x1="72222" y1="91753" x2="68855" y2="93814"/>
                        <a14:foregroundMark x1="29630" y1="94845" x2="45118" y2="94845"/>
                        <a14:foregroundMark x1="45118" y1="94845" x2="60101" y2="93041"/>
                        <a14:foregroundMark x1="60101" y1="93041" x2="68350" y2="93814"/>
                        <a14:foregroundMark x1="27273" y1="93557" x2="22391" y2="91495"/>
                        <a14:foregroundMark x1="23569" y1="87887" x2="23064" y2="79897"/>
                        <a14:foregroundMark x1="20539" y1="82732" x2="15152" y2="82732"/>
                        <a14:foregroundMark x1="21380" y1="93814" x2="20202" y2="89433"/>
                        <a14:foregroundMark x1="20707" y1="94588" x2="12795" y2="90979"/>
                        <a14:foregroundMark x1="12458" y1="89948" x2="4882" y2="88660"/>
                        <a14:foregroundMark x1="5556" y1="88402" x2="3872" y2="71134"/>
                        <a14:foregroundMark x1="12963" y1="70619" x2="12458" y2="12629"/>
                        <a14:foregroundMark x1="8249" y1="68041" x2="11448" y2="41237"/>
                        <a14:foregroundMark x1="11448" y1="41237" x2="8923" y2="87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4814" y="4062027"/>
            <a:ext cx="3226102" cy="2107285"/>
          </a:xfr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F90ED77-18B0-462B-AA83-96CC8A94C2ED}"/>
              </a:ext>
            </a:extLst>
          </p:cNvPr>
          <p:cNvSpPr/>
          <p:nvPr/>
        </p:nvSpPr>
        <p:spPr>
          <a:xfrm>
            <a:off x="6912165" y="5354723"/>
            <a:ext cx="1280160" cy="609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imar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8BD35C7-2021-4E17-A5C4-9512E8A59A13}"/>
              </a:ext>
            </a:extLst>
          </p:cNvPr>
          <p:cNvSpPr/>
          <p:nvPr/>
        </p:nvSpPr>
        <p:spPr>
          <a:xfrm>
            <a:off x="10432288" y="5354723"/>
            <a:ext cx="1341934" cy="6096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condar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0E7176-8D54-4CCE-AFAC-14FEF647DCC8}"/>
              </a:ext>
            </a:extLst>
          </p:cNvPr>
          <p:cNvSpPr/>
          <p:nvPr/>
        </p:nvSpPr>
        <p:spPr>
          <a:xfrm>
            <a:off x="8362950" y="3479800"/>
            <a:ext cx="431800" cy="3441700"/>
          </a:xfrm>
          <a:prstGeom prst="rect">
            <a:avLst/>
          </a:prstGeom>
          <a:solidFill>
            <a:srgbClr val="DFE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7305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892785D-B338-4A70-9B7F-61CA34B472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385" imgH="381" progId="TCLayout.ActiveDocument.1">
                  <p:embed/>
                </p:oleObj>
              </mc:Choice>
              <mc:Fallback>
                <p:oleObj name="think-cell Slide" r:id="rId5" imgW="385" imgH="38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892785D-B338-4A70-9B7F-61CA34B47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ECF9CB5-5E05-45F0-9639-66B3A190DD35}"/>
              </a:ext>
            </a:extLst>
          </p:cNvPr>
          <p:cNvCxnSpPr>
            <a:cxnSpLocks/>
          </p:cNvCxnSpPr>
          <p:nvPr/>
        </p:nvCxnSpPr>
        <p:spPr>
          <a:xfrm>
            <a:off x="6376946" y="1566407"/>
            <a:ext cx="0" cy="5100206"/>
          </a:xfrm>
          <a:prstGeom prst="line">
            <a:avLst/>
          </a:prstGeom>
          <a:ln w="635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rrow: Right 7">
            <a:extLst>
              <a:ext uri="{FF2B5EF4-FFF2-40B4-BE49-F238E27FC236}">
                <a16:creationId xmlns:a16="http://schemas.microsoft.com/office/drawing/2014/main" id="{07FE34E0-A647-4226-AE00-54D706E4C9BD}"/>
              </a:ext>
            </a:extLst>
          </p:cNvPr>
          <p:cNvSpPr/>
          <p:nvPr/>
        </p:nvSpPr>
        <p:spPr>
          <a:xfrm>
            <a:off x="2724651" y="1974444"/>
            <a:ext cx="1680308" cy="695569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3226DD-B3ED-40F4-A10C-B944E61EA7E5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Tool Kit and Red Lion Workbench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21023A-4228-4B3A-BCE8-C6832BB4C07E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Separate Variable Database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4629B67-4920-4EB7-B545-4254B5B463CD}"/>
              </a:ext>
            </a:extLst>
          </p:cNvPr>
          <p:cNvSpPr/>
          <p:nvPr/>
        </p:nvSpPr>
        <p:spPr>
          <a:xfrm>
            <a:off x="2660779" y="1814870"/>
            <a:ext cx="1931377" cy="115081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ool Ki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9E6F764-68A3-4341-8A65-EC478584418F}"/>
              </a:ext>
            </a:extLst>
          </p:cNvPr>
          <p:cNvSpPr/>
          <p:nvPr/>
        </p:nvSpPr>
        <p:spPr>
          <a:xfrm>
            <a:off x="8187116" y="1818864"/>
            <a:ext cx="1931378" cy="115081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L Workbenc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3B1E83-244B-4FD1-B23C-CDB4069AC438}"/>
              </a:ext>
            </a:extLst>
          </p:cNvPr>
          <p:cNvSpPr txBox="1"/>
          <p:nvPr/>
        </p:nvSpPr>
        <p:spPr>
          <a:xfrm>
            <a:off x="3955574" y="3233716"/>
            <a:ext cx="51972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When ever there is a change you must resync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4284FAF-79D8-4A08-97B8-69DEEA07398C}"/>
              </a:ext>
            </a:extLst>
          </p:cNvPr>
          <p:cNvSpPr/>
          <p:nvPr/>
        </p:nvSpPr>
        <p:spPr>
          <a:xfrm>
            <a:off x="3756771" y="3823594"/>
            <a:ext cx="5119566" cy="2637692"/>
          </a:xfrm>
          <a:prstGeom prst="roundRect">
            <a:avLst/>
          </a:prstGeom>
          <a:noFill/>
          <a:ln w="666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>
                <a:solidFill>
                  <a:schemeClr val="tx2"/>
                </a:solidFill>
              </a:rPr>
              <a:t>ST-IPm-8460</a:t>
            </a:r>
          </a:p>
        </p:txBody>
      </p:sp>
      <p:sp>
        <p:nvSpPr>
          <p:cNvPr id="3" name="Cylinder 2">
            <a:extLst>
              <a:ext uri="{FF2B5EF4-FFF2-40B4-BE49-F238E27FC236}">
                <a16:creationId xmlns:a16="http://schemas.microsoft.com/office/drawing/2014/main" id="{0BFE586F-D7C7-4B5D-8BE1-66776C53277C}"/>
              </a:ext>
            </a:extLst>
          </p:cNvPr>
          <p:cNvSpPr/>
          <p:nvPr/>
        </p:nvSpPr>
        <p:spPr>
          <a:xfrm>
            <a:off x="6866884" y="4570618"/>
            <a:ext cx="1850065" cy="178627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Red Lion Runtime</a:t>
            </a:r>
          </a:p>
        </p:txBody>
      </p:sp>
      <p:sp>
        <p:nvSpPr>
          <p:cNvPr id="11" name="Cylinder 10">
            <a:extLst>
              <a:ext uri="{FF2B5EF4-FFF2-40B4-BE49-F238E27FC236}">
                <a16:creationId xmlns:a16="http://schemas.microsoft.com/office/drawing/2014/main" id="{210375B1-82E8-448A-9789-13FC817A61BF}"/>
              </a:ext>
            </a:extLst>
          </p:cNvPr>
          <p:cNvSpPr/>
          <p:nvPr/>
        </p:nvSpPr>
        <p:spPr>
          <a:xfrm>
            <a:off x="3976893" y="4611619"/>
            <a:ext cx="1850065" cy="1786270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ool Kit</a:t>
            </a:r>
          </a:p>
          <a:p>
            <a:pPr algn="ctr"/>
            <a:r>
              <a:rPr lang="en-US"/>
              <a:t>I/O Database</a:t>
            </a:r>
          </a:p>
        </p:txBody>
      </p:sp>
      <p:sp>
        <p:nvSpPr>
          <p:cNvPr id="13" name="Arrow: Left-Right 12">
            <a:extLst>
              <a:ext uri="{FF2B5EF4-FFF2-40B4-BE49-F238E27FC236}">
                <a16:creationId xmlns:a16="http://schemas.microsoft.com/office/drawing/2014/main" id="{DD697CD2-449B-454C-B08C-BB472AF8466D}"/>
              </a:ext>
            </a:extLst>
          </p:cNvPr>
          <p:cNvSpPr/>
          <p:nvPr/>
        </p:nvSpPr>
        <p:spPr>
          <a:xfrm>
            <a:off x="5849366" y="5348181"/>
            <a:ext cx="955190" cy="54385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82513131-01A3-4176-8FDF-45C22EEAC6AA}"/>
              </a:ext>
            </a:extLst>
          </p:cNvPr>
          <p:cNvGraphicFramePr/>
          <p:nvPr/>
        </p:nvGraphicFramePr>
        <p:xfrm>
          <a:off x="598417" y="3603048"/>
          <a:ext cx="2858513" cy="26532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82E796BF-086C-41E5-8C48-9CF3C2DAB7B9}"/>
              </a:ext>
            </a:extLst>
          </p:cNvPr>
          <p:cNvGraphicFramePr/>
          <p:nvPr/>
        </p:nvGraphicFramePr>
        <p:xfrm>
          <a:off x="8937071" y="3603049"/>
          <a:ext cx="2290910" cy="29829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1C5D7729-BB6C-4A2B-AB7B-A03426A39FB1}"/>
              </a:ext>
            </a:extLst>
          </p:cNvPr>
          <p:cNvSpPr/>
          <p:nvPr/>
        </p:nvSpPr>
        <p:spPr>
          <a:xfrm>
            <a:off x="555482" y="3603048"/>
            <a:ext cx="3138961" cy="2858238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613CDA3-16EE-4656-B841-FBAAF6825471}"/>
              </a:ext>
            </a:extLst>
          </p:cNvPr>
          <p:cNvSpPr/>
          <p:nvPr/>
        </p:nvSpPr>
        <p:spPr>
          <a:xfrm>
            <a:off x="8917868" y="3591032"/>
            <a:ext cx="2310114" cy="3075581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F47BFFA-8609-4FDF-893E-CD0EBC56354A}"/>
              </a:ext>
            </a:extLst>
          </p:cNvPr>
          <p:cNvCxnSpPr>
            <a:endCxn id="3" idx="4"/>
          </p:cNvCxnSpPr>
          <p:nvPr/>
        </p:nvCxnSpPr>
        <p:spPr>
          <a:xfrm flipH="1">
            <a:off x="8716949" y="3591032"/>
            <a:ext cx="200919" cy="1872721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C47394-0DA0-4561-9B33-F936D5621CCB}"/>
              </a:ext>
            </a:extLst>
          </p:cNvPr>
          <p:cNvCxnSpPr>
            <a:cxnSpLocks/>
            <a:stCxn id="3" idx="4"/>
          </p:cNvCxnSpPr>
          <p:nvPr/>
        </p:nvCxnSpPr>
        <p:spPr>
          <a:xfrm>
            <a:off x="8716949" y="5463753"/>
            <a:ext cx="200918" cy="1202860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7CC5240-BC04-420D-B2AE-7D67AF10A2E6}"/>
              </a:ext>
            </a:extLst>
          </p:cNvPr>
          <p:cNvCxnSpPr>
            <a:stCxn id="11" idx="2"/>
          </p:cNvCxnSpPr>
          <p:nvPr/>
        </p:nvCxnSpPr>
        <p:spPr>
          <a:xfrm flipH="1" flipV="1">
            <a:off x="3694443" y="3603048"/>
            <a:ext cx="282450" cy="1901706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09EA2B0-0A2B-4912-B000-8639E3867BB5}"/>
              </a:ext>
            </a:extLst>
          </p:cNvPr>
          <p:cNvCxnSpPr>
            <a:stCxn id="11" idx="2"/>
          </p:cNvCxnSpPr>
          <p:nvPr/>
        </p:nvCxnSpPr>
        <p:spPr>
          <a:xfrm flipH="1">
            <a:off x="3694443" y="5504754"/>
            <a:ext cx="282450" cy="956532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DF159B0-9A52-4211-93F8-F22F24486D05}"/>
              </a:ext>
            </a:extLst>
          </p:cNvPr>
          <p:cNvSpPr/>
          <p:nvPr/>
        </p:nvSpPr>
        <p:spPr>
          <a:xfrm>
            <a:off x="1272209" y="3721210"/>
            <a:ext cx="1452442" cy="477079"/>
          </a:xfrm>
          <a:prstGeom prst="rect">
            <a:avLst/>
          </a:prstGeom>
          <a:solidFill>
            <a:srgbClr val="00B0F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508AA8C-F2DB-474B-8394-55CD54F8F46C}"/>
              </a:ext>
            </a:extLst>
          </p:cNvPr>
          <p:cNvSpPr/>
          <p:nvPr/>
        </p:nvSpPr>
        <p:spPr>
          <a:xfrm>
            <a:off x="9430247" y="3616884"/>
            <a:ext cx="390238" cy="159027"/>
          </a:xfrm>
          <a:prstGeom prst="rect">
            <a:avLst/>
          </a:prstGeom>
          <a:solidFill>
            <a:srgbClr val="00B0F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3B069BC-F242-40AA-99CF-2F81348B457B}"/>
              </a:ext>
            </a:extLst>
          </p:cNvPr>
          <p:cNvSpPr/>
          <p:nvPr/>
        </p:nvSpPr>
        <p:spPr>
          <a:xfrm>
            <a:off x="1233153" y="4365397"/>
            <a:ext cx="1452442" cy="477079"/>
          </a:xfrm>
          <a:prstGeom prst="rect">
            <a:avLst/>
          </a:prstGeom>
          <a:solidFill>
            <a:srgbClr val="00B05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CC6AB15-9C39-4846-8957-19A5DA58458F}"/>
              </a:ext>
            </a:extLst>
          </p:cNvPr>
          <p:cNvSpPr/>
          <p:nvPr/>
        </p:nvSpPr>
        <p:spPr>
          <a:xfrm>
            <a:off x="9430247" y="4363149"/>
            <a:ext cx="390238" cy="159027"/>
          </a:xfrm>
          <a:prstGeom prst="rect">
            <a:avLst/>
          </a:prstGeom>
          <a:solidFill>
            <a:srgbClr val="00B05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0F6D67F-29B9-437B-B9B8-3C5B6A42FD0F}"/>
              </a:ext>
            </a:extLst>
          </p:cNvPr>
          <p:cNvSpPr/>
          <p:nvPr/>
        </p:nvSpPr>
        <p:spPr>
          <a:xfrm>
            <a:off x="1233153" y="5027675"/>
            <a:ext cx="1452442" cy="477079"/>
          </a:xfrm>
          <a:prstGeom prst="rect">
            <a:avLst/>
          </a:prstGeom>
          <a:solidFill>
            <a:srgbClr val="FFFF0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B9F96B9-8E19-4E70-AEC1-1172FC024FE8}"/>
              </a:ext>
            </a:extLst>
          </p:cNvPr>
          <p:cNvSpPr/>
          <p:nvPr/>
        </p:nvSpPr>
        <p:spPr>
          <a:xfrm>
            <a:off x="9430247" y="5851861"/>
            <a:ext cx="390238" cy="159027"/>
          </a:xfrm>
          <a:prstGeom prst="rect">
            <a:avLst/>
          </a:prstGeom>
          <a:solidFill>
            <a:srgbClr val="FFFF0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D3F1100-7AD5-48A2-92D4-DAC96A94BC6D}"/>
              </a:ext>
            </a:extLst>
          </p:cNvPr>
          <p:cNvSpPr/>
          <p:nvPr/>
        </p:nvSpPr>
        <p:spPr>
          <a:xfrm>
            <a:off x="1233153" y="5675165"/>
            <a:ext cx="1452442" cy="477079"/>
          </a:xfrm>
          <a:prstGeom prst="rect">
            <a:avLst/>
          </a:prstGeom>
          <a:solidFill>
            <a:schemeClr val="accent6">
              <a:lumMod val="60000"/>
              <a:lumOff val="4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89C3608-D63F-4E5E-BFDB-C71897BA3F3B}"/>
              </a:ext>
            </a:extLst>
          </p:cNvPr>
          <p:cNvSpPr/>
          <p:nvPr/>
        </p:nvSpPr>
        <p:spPr>
          <a:xfrm>
            <a:off x="9452362" y="4924019"/>
            <a:ext cx="453638" cy="159027"/>
          </a:xfrm>
          <a:prstGeom prst="rect">
            <a:avLst/>
          </a:prstGeom>
          <a:solidFill>
            <a:schemeClr val="accent6">
              <a:lumMod val="60000"/>
              <a:lumOff val="4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804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2.59259E-6 L 0.46458 -0.0067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229" y="-3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Graphic spid="14" grpId="0">
        <p:bldAsOne/>
      </p:bldGraphic>
      <p:bldGraphic spid="15" grpId="0">
        <p:bldAsOne/>
      </p:bldGraphic>
      <p:bldP spid="16" grpId="0" animBg="1"/>
      <p:bldP spid="1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KT_VNPOUsQY5er1M8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KT_VNPOUsQY5er1M8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KT_VNPOUsQY5er1M8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A_VqhE7AcE2w8XwJ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nm6amffV4IeWIBhshq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f58yjIOOss22Uw0TAJ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Layouts">
  <a:themeElements>
    <a:clrScheme name="REDLION COLORS">
      <a:dk1>
        <a:srgbClr val="000000"/>
      </a:dk1>
      <a:lt1>
        <a:srgbClr val="FFFFFF"/>
      </a:lt1>
      <a:dk2>
        <a:srgbClr val="1B365D"/>
      </a:dk2>
      <a:lt2>
        <a:srgbClr val="FFFFFF"/>
      </a:lt2>
      <a:accent1>
        <a:srgbClr val="1B365D"/>
      </a:accent1>
      <a:accent2>
        <a:srgbClr val="63666A"/>
      </a:accent2>
      <a:accent3>
        <a:srgbClr val="AB2328"/>
      </a:accent3>
      <a:accent4>
        <a:srgbClr val="89ABE3"/>
      </a:accent4>
      <a:accent5>
        <a:srgbClr val="FFB81C"/>
      </a:accent5>
      <a:accent6>
        <a:srgbClr val="971B2F"/>
      </a:accent6>
      <a:hlink>
        <a:srgbClr val="D0D3D4"/>
      </a:hlink>
      <a:folHlink>
        <a:srgbClr val="CFD2D3"/>
      </a:folHlink>
    </a:clrScheme>
    <a:fontScheme name="New Brand 2">
      <a:majorFont>
        <a:latin typeface="Titillium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EXTERNAL Template.potx" id="{EC389C42-45C2-40FA-9BD5-AA9DD26CE736}" vid="{2D0591CD-2DE0-4801-A698-B3C5692606DF}"/>
    </a:ext>
  </a:extLst>
</a:theme>
</file>

<file path=ppt/theme/theme2.xml><?xml version="1.0" encoding="utf-8"?>
<a:theme xmlns:a="http://schemas.openxmlformats.org/drawingml/2006/main" name="AGENDA Layouts">
  <a:themeElements>
    <a:clrScheme name="RLC2019_3">
      <a:dk1>
        <a:sysClr val="windowText" lastClr="000000"/>
      </a:dk1>
      <a:lt1>
        <a:sysClr val="window" lastClr="FFFFFF"/>
      </a:lt1>
      <a:dk2>
        <a:srgbClr val="1B365D"/>
      </a:dk2>
      <a:lt2>
        <a:srgbClr val="FFFFFF"/>
      </a:lt2>
      <a:accent1>
        <a:srgbClr val="1B365D"/>
      </a:accent1>
      <a:accent2>
        <a:srgbClr val="63666A"/>
      </a:accent2>
      <a:accent3>
        <a:srgbClr val="AB2328"/>
      </a:accent3>
      <a:accent4>
        <a:srgbClr val="89ABE3"/>
      </a:accent4>
      <a:accent5>
        <a:srgbClr val="FFB81C"/>
      </a:accent5>
      <a:accent6>
        <a:srgbClr val="971B2F"/>
      </a:accent6>
      <a:hlink>
        <a:srgbClr val="D0D3D4"/>
      </a:hlink>
      <a:folHlink>
        <a:srgbClr val="CFD2D3"/>
      </a:folHlink>
    </a:clrScheme>
    <a:fontScheme name="New Brand 2">
      <a:majorFont>
        <a:latin typeface="Titillium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EXTERNAL Template.potx" id="{EC389C42-45C2-40FA-9BD5-AA9DD26CE736}" vid="{9040F483-9352-44D9-BDDE-C3781EDB9086}"/>
    </a:ext>
  </a:extLst>
</a:theme>
</file>

<file path=ppt/theme/theme3.xml><?xml version="1.0" encoding="utf-8"?>
<a:theme xmlns:a="http://schemas.openxmlformats.org/drawingml/2006/main" name="CONTENT Layouts">
  <a:themeElements>
    <a:clrScheme name="RLC2019_3">
      <a:dk1>
        <a:sysClr val="windowText" lastClr="000000"/>
      </a:dk1>
      <a:lt1>
        <a:sysClr val="window" lastClr="FFFFFF"/>
      </a:lt1>
      <a:dk2>
        <a:srgbClr val="1B365D"/>
      </a:dk2>
      <a:lt2>
        <a:srgbClr val="FFFFFF"/>
      </a:lt2>
      <a:accent1>
        <a:srgbClr val="1B365D"/>
      </a:accent1>
      <a:accent2>
        <a:srgbClr val="63666A"/>
      </a:accent2>
      <a:accent3>
        <a:srgbClr val="AB2328"/>
      </a:accent3>
      <a:accent4>
        <a:srgbClr val="89ABE3"/>
      </a:accent4>
      <a:accent5>
        <a:srgbClr val="FFB81C"/>
      </a:accent5>
      <a:accent6>
        <a:srgbClr val="971B2F"/>
      </a:accent6>
      <a:hlink>
        <a:srgbClr val="D0D3D4"/>
      </a:hlink>
      <a:folHlink>
        <a:srgbClr val="CFD2D3"/>
      </a:folHlink>
    </a:clrScheme>
    <a:fontScheme name="New Brand 2">
      <a:majorFont>
        <a:latin typeface="Titillium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EXTERNAL Template.potx" id="{EC389C42-45C2-40FA-9BD5-AA9DD26CE736}" vid="{D3AFFEB5-1516-4109-977E-2CDE33EA757F}"/>
    </a:ext>
  </a:extLst>
</a:theme>
</file>

<file path=ppt/theme/theme4.xml><?xml version="1.0" encoding="utf-8"?>
<a:theme xmlns:a="http://schemas.openxmlformats.org/drawingml/2006/main" name="1_Sixnet_Template_Office03">
  <a:themeElements>
    <a:clrScheme name="1_Sixnet_Template_Office03 14">
      <a:dk1>
        <a:srgbClr val="000000"/>
      </a:dk1>
      <a:lt1>
        <a:srgbClr val="FFFFFF"/>
      </a:lt1>
      <a:dk2>
        <a:srgbClr val="58585A"/>
      </a:dk2>
      <a:lt2>
        <a:srgbClr val="919195"/>
      </a:lt2>
      <a:accent1>
        <a:srgbClr val="C41230"/>
      </a:accent1>
      <a:accent2>
        <a:srgbClr val="E7B139"/>
      </a:accent2>
      <a:accent3>
        <a:srgbClr val="FFFFFF"/>
      </a:accent3>
      <a:accent4>
        <a:srgbClr val="000000"/>
      </a:accent4>
      <a:accent5>
        <a:srgbClr val="DEAAAD"/>
      </a:accent5>
      <a:accent6>
        <a:srgbClr val="D1A033"/>
      </a:accent6>
      <a:hlink>
        <a:srgbClr val="0C7AC0"/>
      </a:hlink>
      <a:folHlink>
        <a:srgbClr val="7FA040"/>
      </a:folHlink>
    </a:clrScheme>
    <a:fontScheme name="1_Sixnet_Template_Office03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MS PGothic" panose="020B0600070205080204" pitchFamily="34" charset="-128"/>
          </a:defRPr>
        </a:defPPr>
      </a:lstStyle>
    </a:lnDef>
  </a:objectDefaults>
  <a:extraClrSchemeLst>
    <a:extraClrScheme>
      <a:clrScheme name="1_Sixnet_Template_Office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13">
        <a:dk1>
          <a:srgbClr val="000000"/>
        </a:dk1>
        <a:lt1>
          <a:srgbClr val="FFFFFF"/>
        </a:lt1>
        <a:dk2>
          <a:srgbClr val="58585A"/>
        </a:dk2>
        <a:lt2>
          <a:srgbClr val="919195"/>
        </a:lt2>
        <a:accent1>
          <a:srgbClr val="9B1918"/>
        </a:accent1>
        <a:accent2>
          <a:srgbClr val="E7B139"/>
        </a:accent2>
        <a:accent3>
          <a:srgbClr val="FFFFFF"/>
        </a:accent3>
        <a:accent4>
          <a:srgbClr val="000000"/>
        </a:accent4>
        <a:accent5>
          <a:srgbClr val="CBABAB"/>
        </a:accent5>
        <a:accent6>
          <a:srgbClr val="D1A033"/>
        </a:accent6>
        <a:hlink>
          <a:srgbClr val="0C7AC0"/>
        </a:hlink>
        <a:folHlink>
          <a:srgbClr val="7FA0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14">
        <a:dk1>
          <a:srgbClr val="000000"/>
        </a:dk1>
        <a:lt1>
          <a:srgbClr val="FFFFFF"/>
        </a:lt1>
        <a:dk2>
          <a:srgbClr val="58585A"/>
        </a:dk2>
        <a:lt2>
          <a:srgbClr val="919195"/>
        </a:lt2>
        <a:accent1>
          <a:srgbClr val="C41230"/>
        </a:accent1>
        <a:accent2>
          <a:srgbClr val="E7B139"/>
        </a:accent2>
        <a:accent3>
          <a:srgbClr val="FFFFFF"/>
        </a:accent3>
        <a:accent4>
          <a:srgbClr val="000000"/>
        </a:accent4>
        <a:accent5>
          <a:srgbClr val="DEAAAD"/>
        </a:accent5>
        <a:accent6>
          <a:srgbClr val="D1A033"/>
        </a:accent6>
        <a:hlink>
          <a:srgbClr val="0C7AC0"/>
        </a:hlink>
        <a:folHlink>
          <a:srgbClr val="7FA0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Sixnet_Template_Office03">
  <a:themeElements>
    <a:clrScheme name="1_Sixnet_Template_Office03 14">
      <a:dk1>
        <a:srgbClr val="000000"/>
      </a:dk1>
      <a:lt1>
        <a:srgbClr val="FFFFFF"/>
      </a:lt1>
      <a:dk2>
        <a:srgbClr val="58585A"/>
      </a:dk2>
      <a:lt2>
        <a:srgbClr val="919195"/>
      </a:lt2>
      <a:accent1>
        <a:srgbClr val="C41230"/>
      </a:accent1>
      <a:accent2>
        <a:srgbClr val="E7B139"/>
      </a:accent2>
      <a:accent3>
        <a:srgbClr val="FFFFFF"/>
      </a:accent3>
      <a:accent4>
        <a:srgbClr val="000000"/>
      </a:accent4>
      <a:accent5>
        <a:srgbClr val="DEAAAD"/>
      </a:accent5>
      <a:accent6>
        <a:srgbClr val="D1A033"/>
      </a:accent6>
      <a:hlink>
        <a:srgbClr val="0C7AC0"/>
      </a:hlink>
      <a:folHlink>
        <a:srgbClr val="7FA040"/>
      </a:folHlink>
    </a:clrScheme>
    <a:fontScheme name="1_Sixnet_Template_Office03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MS PGothic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MS PGothic" panose="020B0600070205080204" pitchFamily="34" charset="-128"/>
          </a:defRPr>
        </a:defPPr>
      </a:lstStyle>
    </a:lnDef>
  </a:objectDefaults>
  <a:extraClrSchemeLst>
    <a:extraClrScheme>
      <a:clrScheme name="1_Sixnet_Template_Office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xnet_Template_Office03 13">
        <a:dk1>
          <a:srgbClr val="000000"/>
        </a:dk1>
        <a:lt1>
          <a:srgbClr val="FFFFFF"/>
        </a:lt1>
        <a:dk2>
          <a:srgbClr val="58585A"/>
        </a:dk2>
        <a:lt2>
          <a:srgbClr val="919195"/>
        </a:lt2>
        <a:accent1>
          <a:srgbClr val="9B1918"/>
        </a:accent1>
        <a:accent2>
          <a:srgbClr val="E7B139"/>
        </a:accent2>
        <a:accent3>
          <a:srgbClr val="FFFFFF"/>
        </a:accent3>
        <a:accent4>
          <a:srgbClr val="000000"/>
        </a:accent4>
        <a:accent5>
          <a:srgbClr val="CBABAB"/>
        </a:accent5>
        <a:accent6>
          <a:srgbClr val="D1A033"/>
        </a:accent6>
        <a:hlink>
          <a:srgbClr val="0C7AC0"/>
        </a:hlink>
        <a:folHlink>
          <a:srgbClr val="7FA04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xnet_Template_Office03 14">
        <a:dk1>
          <a:srgbClr val="000000"/>
        </a:dk1>
        <a:lt1>
          <a:srgbClr val="FFFFFF"/>
        </a:lt1>
        <a:dk2>
          <a:srgbClr val="58585A"/>
        </a:dk2>
        <a:lt2>
          <a:srgbClr val="919195"/>
        </a:lt2>
        <a:accent1>
          <a:srgbClr val="C41230"/>
        </a:accent1>
        <a:accent2>
          <a:srgbClr val="E7B139"/>
        </a:accent2>
        <a:accent3>
          <a:srgbClr val="FFFFFF"/>
        </a:accent3>
        <a:accent4>
          <a:srgbClr val="000000"/>
        </a:accent4>
        <a:accent5>
          <a:srgbClr val="DEAAAD"/>
        </a:accent5>
        <a:accent6>
          <a:srgbClr val="D1A033"/>
        </a:accent6>
        <a:hlink>
          <a:srgbClr val="0C7AC0"/>
        </a:hlink>
        <a:folHlink>
          <a:srgbClr val="7FA0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With Logo">
  <a:themeElements>
    <a:clrScheme name="Red Lion Colors">
      <a:dk1>
        <a:sysClr val="windowText" lastClr="000000"/>
      </a:dk1>
      <a:lt1>
        <a:sysClr val="window" lastClr="FFFFFF"/>
      </a:lt1>
      <a:dk2>
        <a:srgbClr val="A5A5A5"/>
      </a:dk2>
      <a:lt2>
        <a:srgbClr val="E9E7EC"/>
      </a:lt2>
      <a:accent1>
        <a:srgbClr val="E10535"/>
      </a:accent1>
      <a:accent2>
        <a:srgbClr val="4F81BD"/>
      </a:accent2>
      <a:accent3>
        <a:srgbClr val="9BBB59"/>
      </a:accent3>
      <a:accent4>
        <a:srgbClr val="7E61B1"/>
      </a:accent4>
      <a:accent5>
        <a:srgbClr val="4BACC6"/>
      </a:accent5>
      <a:accent6>
        <a:srgbClr val="F79646"/>
      </a:accent6>
      <a:hlink>
        <a:srgbClr val="E10535"/>
      </a:hlink>
      <a:folHlink>
        <a:srgbClr val="E10535"/>
      </a:folHlink>
    </a:clrScheme>
    <a:fontScheme name="Red Lion">
      <a:majorFont>
        <a:latin typeface="Corbel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10</TotalTime>
  <Words>889</Words>
  <Application>Microsoft Office PowerPoint</Application>
  <PresentationFormat>Widescreen</PresentationFormat>
  <Paragraphs>326</Paragraphs>
  <Slides>1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3" baseType="lpstr">
      <vt:lpstr>Arial</vt:lpstr>
      <vt:lpstr>Calibri</vt:lpstr>
      <vt:lpstr>Corbel</vt:lpstr>
      <vt:lpstr>Helvetica</vt:lpstr>
      <vt:lpstr>Lato</vt:lpstr>
      <vt:lpstr>Lucida Grande</vt:lpstr>
      <vt:lpstr>Titillium</vt:lpstr>
      <vt:lpstr>Titillium Bd</vt:lpstr>
      <vt:lpstr>Wingdings</vt:lpstr>
      <vt:lpstr>TITLE Layouts</vt:lpstr>
      <vt:lpstr>AGENDA Layouts</vt:lpstr>
      <vt:lpstr>CONTENT Layouts</vt:lpstr>
      <vt:lpstr>1_Sixnet_Template_Office03</vt:lpstr>
      <vt:lpstr>2_Sixnet_Template_Office03</vt:lpstr>
      <vt:lpstr>With Logo</vt:lpstr>
      <vt:lpstr>think-cell Slide</vt:lpstr>
      <vt:lpstr>ST-IPm-8460 and Red Lion Workbenc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d Lion Workbench</vt:lpstr>
      <vt:lpstr>Red Lion Workbench</vt:lpstr>
      <vt:lpstr>Red Lion Workbench</vt:lpstr>
      <vt:lpstr>ST-IPm-8460, EtherTRAK-2 I/O, Graphit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TU and I/O</dc:title>
  <dc:creator>Jacob Colegrove</dc:creator>
  <cp:lastModifiedBy>Jacob Colegrove</cp:lastModifiedBy>
  <cp:revision>22</cp:revision>
  <dcterms:created xsi:type="dcterms:W3CDTF">2020-11-11T12:36:21Z</dcterms:created>
  <dcterms:modified xsi:type="dcterms:W3CDTF">2020-12-05T13:4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f7e01cc-5b14-4415-bc54-c7fd698f74a3_Enabled">
    <vt:lpwstr>true</vt:lpwstr>
  </property>
  <property fmtid="{D5CDD505-2E9C-101B-9397-08002B2CF9AE}" pid="3" name="MSIP_Label_ff7e01cc-5b14-4415-bc54-c7fd698f74a3_SetDate">
    <vt:lpwstr>2020-11-11T12:49:58Z</vt:lpwstr>
  </property>
  <property fmtid="{D5CDD505-2E9C-101B-9397-08002B2CF9AE}" pid="4" name="MSIP_Label_ff7e01cc-5b14-4415-bc54-c7fd698f74a3_Method">
    <vt:lpwstr>Privileged</vt:lpwstr>
  </property>
  <property fmtid="{D5CDD505-2E9C-101B-9397-08002B2CF9AE}" pid="5" name="MSIP_Label_ff7e01cc-5b14-4415-bc54-c7fd698f74a3_Name">
    <vt:lpwstr>Corporate</vt:lpwstr>
  </property>
  <property fmtid="{D5CDD505-2E9C-101B-9397-08002B2CF9AE}" pid="6" name="MSIP_Label_ff7e01cc-5b14-4415-bc54-c7fd698f74a3_SiteId">
    <vt:lpwstr>247aee67-12cb-4195-acc7-03a2905017c7</vt:lpwstr>
  </property>
  <property fmtid="{D5CDD505-2E9C-101B-9397-08002B2CF9AE}" pid="7" name="MSIP_Label_ff7e01cc-5b14-4415-bc54-c7fd698f74a3_ActionId">
    <vt:lpwstr>5e73529f-fd94-43a9-b67c-00007e167111</vt:lpwstr>
  </property>
  <property fmtid="{D5CDD505-2E9C-101B-9397-08002B2CF9AE}" pid="8" name="MSIP_Label_ff7e01cc-5b14-4415-bc54-c7fd698f74a3_ContentBits">
    <vt:lpwstr>2</vt:lpwstr>
  </property>
</Properties>
</file>